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4"/>
  </p:sldMasterIdLst>
  <p:sldIdLst>
    <p:sldId id="1052" r:id="rId5"/>
    <p:sldId id="1053" r:id="rId6"/>
    <p:sldId id="1054" r:id="rId7"/>
    <p:sldId id="1048" r:id="rId8"/>
    <p:sldId id="1057" r:id="rId9"/>
    <p:sldId id="1058" r:id="rId10"/>
    <p:sldId id="1059" r:id="rId11"/>
    <p:sldId id="1063" r:id="rId12"/>
    <p:sldId id="1060" r:id="rId13"/>
    <p:sldId id="1061" r:id="rId14"/>
    <p:sldId id="1047" r:id="rId15"/>
    <p:sldId id="1062" r:id="rId16"/>
    <p:sldId id="1049" r:id="rId17"/>
    <p:sldId id="1056" r:id="rId1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81032B-F784-5339-B7E1-FAF45E611EBE}" v="2" dt="2021-09-07T09:01:47.1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4660"/>
  </p:normalViewPr>
  <p:slideViewPr>
    <p:cSldViewPr snapToGrid="0">
      <p:cViewPr varScale="1">
        <p:scale>
          <a:sx n="113" d="100"/>
          <a:sy n="113" d="100"/>
        </p:scale>
        <p:origin x="8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tz, Marlou" userId="f0660b65-d62e-4b9c-a182-90121faa5e3f" providerId="ADAL" clId="{CA178C4A-953C-42A8-9D19-F03C7CE479C2}"/>
    <pc:docChg chg="custSel addSld delSld modSld sldOrd modMainMaster">
      <pc:chgData name="Schultz, Marlou" userId="f0660b65-d62e-4b9c-a182-90121faa5e3f" providerId="ADAL" clId="{CA178C4A-953C-42A8-9D19-F03C7CE479C2}" dt="2021-06-16T12:09:46.141" v="57" actId="6014"/>
      <pc:docMkLst>
        <pc:docMk/>
      </pc:docMkLst>
      <pc:sldChg chg="addSp delSp modSp">
        <pc:chgData name="Schultz, Marlou" userId="f0660b65-d62e-4b9c-a182-90121faa5e3f" providerId="ADAL" clId="{CA178C4A-953C-42A8-9D19-F03C7CE479C2}" dt="2021-06-16T12:06:54.678" v="50"/>
        <pc:sldMkLst>
          <pc:docMk/>
          <pc:sldMk cId="3882376303" sldId="1047"/>
        </pc:sldMkLst>
        <pc:spChg chg="add mod">
          <ac:chgData name="Schultz, Marlou" userId="f0660b65-d62e-4b9c-a182-90121faa5e3f" providerId="ADAL" clId="{CA178C4A-953C-42A8-9D19-F03C7CE479C2}" dt="2021-06-16T12:06:54.678" v="50"/>
          <ac:spMkLst>
            <pc:docMk/>
            <pc:sldMk cId="3882376303" sldId="1047"/>
            <ac:spMk id="2" creationId="{026DD7B0-AFDA-4751-9322-E197AAE98409}"/>
          </ac:spMkLst>
        </pc:spChg>
        <pc:spChg chg="add mod">
          <ac:chgData name="Schultz, Marlou" userId="f0660b65-d62e-4b9c-a182-90121faa5e3f" providerId="ADAL" clId="{CA178C4A-953C-42A8-9D19-F03C7CE479C2}" dt="2021-06-16T12:06:54.678" v="50"/>
          <ac:spMkLst>
            <pc:docMk/>
            <pc:sldMk cId="3882376303" sldId="1047"/>
            <ac:spMk id="3" creationId="{5A756D80-BCA6-46EC-BD76-A3424158F74D}"/>
          </ac:spMkLst>
        </pc:spChg>
        <pc:spChg chg="add mod">
          <ac:chgData name="Schultz, Marlou" userId="f0660b65-d62e-4b9c-a182-90121faa5e3f" providerId="ADAL" clId="{CA178C4A-953C-42A8-9D19-F03C7CE479C2}" dt="2021-06-16T12:06:54.678" v="50"/>
          <ac:spMkLst>
            <pc:docMk/>
            <pc:sldMk cId="3882376303" sldId="1047"/>
            <ac:spMk id="4" creationId="{7081B9EA-D5FD-4DD1-A6D8-C3C5CEFAA573}"/>
          </ac:spMkLst>
        </pc:spChg>
        <pc:spChg chg="del">
          <ac:chgData name="Schultz, Marlou" userId="f0660b65-d62e-4b9c-a182-90121faa5e3f" providerId="ADAL" clId="{CA178C4A-953C-42A8-9D19-F03C7CE479C2}" dt="2021-06-16T12:06:54.678" v="50"/>
          <ac:spMkLst>
            <pc:docMk/>
            <pc:sldMk cId="3882376303" sldId="1047"/>
            <ac:spMk id="8" creationId="{12534188-F98D-488B-A550-0B3C065C0A7D}"/>
          </ac:spMkLst>
        </pc:spChg>
        <pc:spChg chg="del">
          <ac:chgData name="Schultz, Marlou" userId="f0660b65-d62e-4b9c-a182-90121faa5e3f" providerId="ADAL" clId="{CA178C4A-953C-42A8-9D19-F03C7CE479C2}" dt="2021-06-16T12:06:54.678" v="50"/>
          <ac:spMkLst>
            <pc:docMk/>
            <pc:sldMk cId="3882376303" sldId="1047"/>
            <ac:spMk id="9" creationId="{6477EECF-7B27-4FE7-8AFD-1AC46540AFD1}"/>
          </ac:spMkLst>
        </pc:spChg>
      </pc:sldChg>
      <pc:sldChg chg="addSp delSp modSp">
        <pc:chgData name="Schultz, Marlou" userId="f0660b65-d62e-4b9c-a182-90121faa5e3f" providerId="ADAL" clId="{CA178C4A-953C-42A8-9D19-F03C7CE479C2}" dt="2021-06-16T12:05:40.533" v="39"/>
        <pc:sldMkLst>
          <pc:docMk/>
          <pc:sldMk cId="3182634831" sldId="1048"/>
        </pc:sldMkLst>
        <pc:spChg chg="del">
          <ac:chgData name="Schultz, Marlou" userId="f0660b65-d62e-4b9c-a182-90121faa5e3f" providerId="ADAL" clId="{CA178C4A-953C-42A8-9D19-F03C7CE479C2}" dt="2021-06-16T12:05:40.533" v="39"/>
          <ac:spMkLst>
            <pc:docMk/>
            <pc:sldMk cId="3182634831" sldId="1048"/>
            <ac:spMk id="2" creationId="{0341E3A4-2379-4B1C-94E9-3267F71368F3}"/>
          </ac:spMkLst>
        </pc:spChg>
        <pc:spChg chg="del">
          <ac:chgData name="Schultz, Marlou" userId="f0660b65-d62e-4b9c-a182-90121faa5e3f" providerId="ADAL" clId="{CA178C4A-953C-42A8-9D19-F03C7CE479C2}" dt="2021-06-16T12:05:40.533" v="39"/>
          <ac:spMkLst>
            <pc:docMk/>
            <pc:sldMk cId="3182634831" sldId="1048"/>
            <ac:spMk id="3" creationId="{CD18B018-A509-432E-A4BF-E848DD7E744E}"/>
          </ac:spMkLst>
        </pc:spChg>
        <pc:spChg chg="del">
          <ac:chgData name="Schultz, Marlou" userId="f0660b65-d62e-4b9c-a182-90121faa5e3f" providerId="ADAL" clId="{CA178C4A-953C-42A8-9D19-F03C7CE479C2}" dt="2021-06-16T12:05:40.533" v="39"/>
          <ac:spMkLst>
            <pc:docMk/>
            <pc:sldMk cId="3182634831" sldId="1048"/>
            <ac:spMk id="4" creationId="{BB7C4FD6-C9C5-42B7-804F-97C5313ACDCE}"/>
          </ac:spMkLst>
        </pc:spChg>
        <pc:spChg chg="add mod">
          <ac:chgData name="Schultz, Marlou" userId="f0660b65-d62e-4b9c-a182-90121faa5e3f" providerId="ADAL" clId="{CA178C4A-953C-42A8-9D19-F03C7CE479C2}" dt="2021-06-16T12:05:40.533" v="39"/>
          <ac:spMkLst>
            <pc:docMk/>
            <pc:sldMk cId="3182634831" sldId="1048"/>
            <ac:spMk id="5" creationId="{7467970E-04BB-4B0E-B16F-66F95AE2D81D}"/>
          </ac:spMkLst>
        </pc:spChg>
        <pc:spChg chg="add mod">
          <ac:chgData name="Schultz, Marlou" userId="f0660b65-d62e-4b9c-a182-90121faa5e3f" providerId="ADAL" clId="{CA178C4A-953C-42A8-9D19-F03C7CE479C2}" dt="2021-06-16T12:05:40.533" v="39"/>
          <ac:spMkLst>
            <pc:docMk/>
            <pc:sldMk cId="3182634831" sldId="1048"/>
            <ac:spMk id="6" creationId="{C74C51FB-C596-44B7-ABE2-886C72B657F8}"/>
          </ac:spMkLst>
        </pc:spChg>
        <pc:spChg chg="add mod">
          <ac:chgData name="Schultz, Marlou" userId="f0660b65-d62e-4b9c-a182-90121faa5e3f" providerId="ADAL" clId="{CA178C4A-953C-42A8-9D19-F03C7CE479C2}" dt="2021-06-16T12:05:40.533" v="39"/>
          <ac:spMkLst>
            <pc:docMk/>
            <pc:sldMk cId="3182634831" sldId="1048"/>
            <ac:spMk id="7" creationId="{F0FA6EE0-432C-441F-BCF8-8645021D6957}"/>
          </ac:spMkLst>
        </pc:spChg>
        <pc:spChg chg="add mod">
          <ac:chgData name="Schultz, Marlou" userId="f0660b65-d62e-4b9c-a182-90121faa5e3f" providerId="ADAL" clId="{CA178C4A-953C-42A8-9D19-F03C7CE479C2}" dt="2021-06-16T12:05:40.533" v="39"/>
          <ac:spMkLst>
            <pc:docMk/>
            <pc:sldMk cId="3182634831" sldId="1048"/>
            <ac:spMk id="8" creationId="{1FBA5072-B2D5-4885-8305-0D72996D056B}"/>
          </ac:spMkLst>
        </pc:spChg>
      </pc:sldChg>
      <pc:sldChg chg="del ord">
        <pc:chgData name="Schultz, Marlou" userId="f0660b65-d62e-4b9c-a182-90121faa5e3f" providerId="ADAL" clId="{CA178C4A-953C-42A8-9D19-F03C7CE479C2}" dt="2021-06-16T12:02:16.883" v="21" actId="2696"/>
        <pc:sldMkLst>
          <pc:docMk/>
          <pc:sldMk cId="2835362901" sldId="1055"/>
        </pc:sldMkLst>
      </pc:sldChg>
      <pc:sldChg chg="addSp delSp modSp new">
        <pc:chgData name="Schultz, Marlou" userId="f0660b65-d62e-4b9c-a182-90121faa5e3f" providerId="ADAL" clId="{CA178C4A-953C-42A8-9D19-F03C7CE479C2}" dt="2021-06-16T12:03:55.545" v="33"/>
        <pc:sldMkLst>
          <pc:docMk/>
          <pc:sldMk cId="301994707" sldId="1057"/>
        </pc:sldMkLst>
        <pc:spChg chg="del">
          <ac:chgData name="Schultz, Marlou" userId="f0660b65-d62e-4b9c-a182-90121faa5e3f" providerId="ADAL" clId="{CA178C4A-953C-42A8-9D19-F03C7CE479C2}" dt="2021-06-16T12:02:25.989" v="23"/>
          <ac:spMkLst>
            <pc:docMk/>
            <pc:sldMk cId="301994707" sldId="1057"/>
            <ac:spMk id="2" creationId="{ECACB147-5426-40FC-9FF6-5F5D9F92C0E7}"/>
          </ac:spMkLst>
        </pc:spChg>
        <pc:spChg chg="add del mod">
          <ac:chgData name="Schultz, Marlou" userId="f0660b65-d62e-4b9c-a182-90121faa5e3f" providerId="ADAL" clId="{CA178C4A-953C-42A8-9D19-F03C7CE479C2}" dt="2021-06-16T12:03:26.024" v="30"/>
          <ac:spMkLst>
            <pc:docMk/>
            <pc:sldMk cId="301994707" sldId="1057"/>
            <ac:spMk id="3" creationId="{B526EB98-FE89-4734-8DC6-11D667CF37B5}"/>
          </ac:spMkLst>
        </pc:spChg>
        <pc:spChg chg="add del mod">
          <ac:chgData name="Schultz, Marlou" userId="f0660b65-d62e-4b9c-a182-90121faa5e3f" providerId="ADAL" clId="{CA178C4A-953C-42A8-9D19-F03C7CE479C2}" dt="2021-06-16T12:03:26.024" v="30"/>
          <ac:spMkLst>
            <pc:docMk/>
            <pc:sldMk cId="301994707" sldId="1057"/>
            <ac:spMk id="4" creationId="{391C0CF0-2AE5-4F73-A923-C3A4FD2F6355}"/>
          </ac:spMkLst>
        </pc:spChg>
        <pc:spChg chg="add del mod">
          <ac:chgData name="Schultz, Marlou" userId="f0660b65-d62e-4b9c-a182-90121faa5e3f" providerId="ADAL" clId="{CA178C4A-953C-42A8-9D19-F03C7CE479C2}" dt="2021-06-16T12:03:55.545" v="33"/>
          <ac:spMkLst>
            <pc:docMk/>
            <pc:sldMk cId="301994707" sldId="1057"/>
            <ac:spMk id="5" creationId="{D5A2A064-D8DD-4873-9C1E-67844AA0C8DA}"/>
          </ac:spMkLst>
        </pc:spChg>
        <pc:spChg chg="add mod">
          <ac:chgData name="Schultz, Marlou" userId="f0660b65-d62e-4b9c-a182-90121faa5e3f" providerId="ADAL" clId="{CA178C4A-953C-42A8-9D19-F03C7CE479C2}" dt="2021-06-16T12:03:55.545" v="33"/>
          <ac:spMkLst>
            <pc:docMk/>
            <pc:sldMk cId="301994707" sldId="1057"/>
            <ac:spMk id="6" creationId="{D4EB043A-5961-49E3-8BB3-07C9B3BFFB91}"/>
          </ac:spMkLst>
        </pc:spChg>
      </pc:sldChg>
      <pc:sldMasterChg chg="modSldLayout">
        <pc:chgData name="Schultz, Marlou" userId="f0660b65-d62e-4b9c-a182-90121faa5e3f" providerId="ADAL" clId="{CA178C4A-953C-42A8-9D19-F03C7CE479C2}" dt="2021-06-16T12:09:46.141" v="57" actId="6014"/>
        <pc:sldMasterMkLst>
          <pc:docMk/>
          <pc:sldMasterMk cId="203597632" sldId="2147483661"/>
        </pc:sldMasterMkLst>
        <pc:sldLayoutChg chg="mod">
          <pc:chgData name="Schultz, Marlou" userId="f0660b65-d62e-4b9c-a182-90121faa5e3f" providerId="ADAL" clId="{CA178C4A-953C-42A8-9D19-F03C7CE479C2}" dt="2021-06-16T12:07:56.389" v="51" actId="6014"/>
          <pc:sldLayoutMkLst>
            <pc:docMk/>
            <pc:sldMasterMk cId="203597632" sldId="2147483661"/>
            <pc:sldLayoutMk cId="3506342935" sldId="2147483662"/>
          </pc:sldLayoutMkLst>
        </pc:sldLayoutChg>
        <pc:sldLayoutChg chg="mod">
          <pc:chgData name="Schultz, Marlou" userId="f0660b65-d62e-4b9c-a182-90121faa5e3f" providerId="ADAL" clId="{CA178C4A-953C-42A8-9D19-F03C7CE479C2}" dt="2021-06-16T12:08:07.779" v="52" actId="6014"/>
          <pc:sldLayoutMkLst>
            <pc:docMk/>
            <pc:sldMasterMk cId="203597632" sldId="2147483661"/>
            <pc:sldLayoutMk cId="54852921" sldId="2147483717"/>
          </pc:sldLayoutMkLst>
        </pc:sldLayoutChg>
        <pc:sldLayoutChg chg="modSp mod">
          <pc:chgData name="Schultz, Marlou" userId="f0660b65-d62e-4b9c-a182-90121faa5e3f" providerId="ADAL" clId="{CA178C4A-953C-42A8-9D19-F03C7CE479C2}" dt="2021-06-16T12:08:21.534" v="53" actId="6014"/>
          <pc:sldLayoutMkLst>
            <pc:docMk/>
            <pc:sldMasterMk cId="203597632" sldId="2147483661"/>
            <pc:sldLayoutMk cId="1277635684" sldId="2147483718"/>
          </pc:sldLayoutMkLst>
          <pc:spChg chg="mod">
            <ac:chgData name="Schultz, Marlou" userId="f0660b65-d62e-4b9c-a182-90121faa5e3f" providerId="ADAL" clId="{CA178C4A-953C-42A8-9D19-F03C7CE479C2}" dt="2021-06-16T11:59:30.593" v="2" actId="20577"/>
            <ac:spMkLst>
              <pc:docMk/>
              <pc:sldMasterMk cId="203597632" sldId="2147483661"/>
              <pc:sldLayoutMk cId="1277635684" sldId="2147483718"/>
              <ac:spMk id="11" creationId="{DE11FE94-4B9F-4169-B0DF-A30AAA8DF813}"/>
            </ac:spMkLst>
          </pc:spChg>
        </pc:sldLayoutChg>
        <pc:sldLayoutChg chg="addSp delSp modSp mod">
          <pc:chgData name="Schultz, Marlou" userId="f0660b65-d62e-4b9c-a182-90121faa5e3f" providerId="ADAL" clId="{CA178C4A-953C-42A8-9D19-F03C7CE479C2}" dt="2021-06-16T12:08:37.723" v="54" actId="6014"/>
          <pc:sldLayoutMkLst>
            <pc:docMk/>
            <pc:sldMasterMk cId="203597632" sldId="2147483661"/>
            <pc:sldLayoutMk cId="1881231031" sldId="2147483719"/>
          </pc:sldLayoutMkLst>
          <pc:spChg chg="add del">
            <ac:chgData name="Schultz, Marlou" userId="f0660b65-d62e-4b9c-a182-90121faa5e3f" providerId="ADAL" clId="{CA178C4A-953C-42A8-9D19-F03C7CE479C2}" dt="2021-06-16T11:59:41.747" v="3" actId="11529"/>
            <ac:spMkLst>
              <pc:docMk/>
              <pc:sldMasterMk cId="203597632" sldId="2147483661"/>
              <pc:sldLayoutMk cId="1881231031" sldId="2147483719"/>
              <ac:spMk id="2" creationId="{FE940F58-D81B-4FBD-BD2F-363202BBF5E1}"/>
            </ac:spMkLst>
          </pc:spChg>
          <pc:spChg chg="add del mod">
            <ac:chgData name="Schultz, Marlou" userId="f0660b65-d62e-4b9c-a182-90121faa5e3f" providerId="ADAL" clId="{CA178C4A-953C-42A8-9D19-F03C7CE479C2}" dt="2021-06-16T12:02:53.495" v="25" actId="478"/>
            <ac:spMkLst>
              <pc:docMk/>
              <pc:sldMasterMk cId="203597632" sldId="2147483661"/>
              <pc:sldLayoutMk cId="1881231031" sldId="2147483719"/>
              <ac:spMk id="3" creationId="{072ECC61-971D-4F1B-BEAC-3D315777813C}"/>
            </ac:spMkLst>
          </pc:spChg>
          <pc:spChg chg="add mod">
            <ac:chgData name="Schultz, Marlou" userId="f0660b65-d62e-4b9c-a182-90121faa5e3f" providerId="ADAL" clId="{CA178C4A-953C-42A8-9D19-F03C7CE479C2}" dt="2021-06-16T12:03:46.513" v="32" actId="20577"/>
            <ac:spMkLst>
              <pc:docMk/>
              <pc:sldMasterMk cId="203597632" sldId="2147483661"/>
              <pc:sldLayoutMk cId="1881231031" sldId="2147483719"/>
              <ac:spMk id="8" creationId="{133C6183-470D-45B3-ACC9-2231B817EE95}"/>
            </ac:spMkLst>
          </pc:spChg>
          <pc:spChg chg="mod">
            <ac:chgData name="Schultz, Marlou" userId="f0660b65-d62e-4b9c-a182-90121faa5e3f" providerId="ADAL" clId="{CA178C4A-953C-42A8-9D19-F03C7CE479C2}" dt="2021-06-16T12:00:23.404" v="11" actId="20577"/>
            <ac:spMkLst>
              <pc:docMk/>
              <pc:sldMasterMk cId="203597632" sldId="2147483661"/>
              <pc:sldLayoutMk cId="1881231031" sldId="2147483719"/>
              <ac:spMk id="11" creationId="{DE11FE94-4B9F-4169-B0DF-A30AAA8DF813}"/>
            </ac:spMkLst>
          </pc:spChg>
        </pc:sldLayoutChg>
        <pc:sldLayoutChg chg="addSp delSp modSp mod">
          <pc:chgData name="Schultz, Marlou" userId="f0660b65-d62e-4b9c-a182-90121faa5e3f" providerId="ADAL" clId="{CA178C4A-953C-42A8-9D19-F03C7CE479C2}" dt="2021-06-16T12:09:17.707" v="55" actId="6014"/>
          <pc:sldLayoutMkLst>
            <pc:docMk/>
            <pc:sldMasterMk cId="203597632" sldId="2147483661"/>
            <pc:sldLayoutMk cId="2137521108" sldId="2147483720"/>
          </pc:sldLayoutMkLst>
          <pc:spChg chg="add mod ord">
            <ac:chgData name="Schultz, Marlou" userId="f0660b65-d62e-4b9c-a182-90121faa5e3f" providerId="ADAL" clId="{CA178C4A-953C-42A8-9D19-F03C7CE479C2}" dt="2021-06-16T12:06:38.556" v="46" actId="1036"/>
            <ac:spMkLst>
              <pc:docMk/>
              <pc:sldMasterMk cId="203597632" sldId="2147483661"/>
              <pc:sldLayoutMk cId="2137521108" sldId="2147483720"/>
              <ac:spMk id="6" creationId="{FE23A922-587C-4E3A-8C75-7062A00957AE}"/>
            </ac:spMkLst>
          </pc:spChg>
          <pc:picChg chg="add del mod">
            <ac:chgData name="Schultz, Marlou" userId="f0660b65-d62e-4b9c-a182-90121faa5e3f" providerId="ADAL" clId="{CA178C4A-953C-42A8-9D19-F03C7CE479C2}" dt="2021-06-16T12:05:11.250" v="37" actId="478"/>
            <ac:picMkLst>
              <pc:docMk/>
              <pc:sldMasterMk cId="203597632" sldId="2147483661"/>
              <pc:sldLayoutMk cId="2137521108" sldId="2147483720"/>
              <ac:picMk id="8" creationId="{06D9919A-9445-4D66-AD48-0CF5505E32F5}"/>
            </ac:picMkLst>
          </pc:picChg>
          <pc:picChg chg="add mod">
            <ac:chgData name="Schultz, Marlou" userId="f0660b65-d62e-4b9c-a182-90121faa5e3f" providerId="ADAL" clId="{CA178C4A-953C-42A8-9D19-F03C7CE479C2}" dt="2021-06-16T12:05:16.539" v="38"/>
            <ac:picMkLst>
              <pc:docMk/>
              <pc:sldMasterMk cId="203597632" sldId="2147483661"/>
              <pc:sldLayoutMk cId="2137521108" sldId="2147483720"/>
              <ac:picMk id="10" creationId="{C43015CC-9686-4F73-983A-D53D31282481}"/>
            </ac:picMkLst>
          </pc:picChg>
        </pc:sldLayoutChg>
        <pc:sldLayoutChg chg="addSp modSp mod">
          <pc:chgData name="Schultz, Marlou" userId="f0660b65-d62e-4b9c-a182-90121faa5e3f" providerId="ADAL" clId="{CA178C4A-953C-42A8-9D19-F03C7CE479C2}" dt="2021-06-16T12:09:32.868" v="56" actId="6014"/>
          <pc:sldLayoutMkLst>
            <pc:docMk/>
            <pc:sldMasterMk cId="203597632" sldId="2147483661"/>
            <pc:sldLayoutMk cId="3575793695" sldId="2147483721"/>
          </pc:sldLayoutMkLst>
          <pc:spChg chg="add mod">
            <ac:chgData name="Schultz, Marlou" userId="f0660b65-d62e-4b9c-a182-90121faa5e3f" providerId="ADAL" clId="{CA178C4A-953C-42A8-9D19-F03C7CE479C2}" dt="2021-06-16T12:06:42.131" v="49" actId="1036"/>
            <ac:spMkLst>
              <pc:docMk/>
              <pc:sldMasterMk cId="203597632" sldId="2147483661"/>
              <pc:sldLayoutMk cId="3575793695" sldId="2147483721"/>
              <ac:spMk id="8" creationId="{1FFEB988-4336-42AB-9AFE-4A95767CB419}"/>
            </ac:spMkLst>
          </pc:spChg>
          <pc:picChg chg="add mod">
            <ac:chgData name="Schultz, Marlou" userId="f0660b65-d62e-4b9c-a182-90121faa5e3f" providerId="ADAL" clId="{CA178C4A-953C-42A8-9D19-F03C7CE479C2}" dt="2021-06-16T12:06:20.365" v="41"/>
            <ac:picMkLst>
              <pc:docMk/>
              <pc:sldMasterMk cId="203597632" sldId="2147483661"/>
              <pc:sldLayoutMk cId="3575793695" sldId="2147483721"/>
              <ac:picMk id="10" creationId="{18664CB5-5DD5-42AD-948B-EABB087B3B48}"/>
            </ac:picMkLst>
          </pc:picChg>
        </pc:sldLayoutChg>
        <pc:sldLayoutChg chg="addSp delSp modSp mod">
          <pc:chgData name="Schultz, Marlou" userId="f0660b65-d62e-4b9c-a182-90121faa5e3f" providerId="ADAL" clId="{CA178C4A-953C-42A8-9D19-F03C7CE479C2}" dt="2021-06-16T12:09:46.141" v="57" actId="6014"/>
          <pc:sldLayoutMkLst>
            <pc:docMk/>
            <pc:sldMasterMk cId="203597632" sldId="2147483661"/>
            <pc:sldLayoutMk cId="2056680098" sldId="2147483722"/>
          </pc:sldLayoutMkLst>
          <pc:spChg chg="add del mod">
            <ac:chgData name="Schultz, Marlou" userId="f0660b65-d62e-4b9c-a182-90121faa5e3f" providerId="ADAL" clId="{CA178C4A-953C-42A8-9D19-F03C7CE479C2}" dt="2021-06-16T12:06:29.028" v="43"/>
            <ac:spMkLst>
              <pc:docMk/>
              <pc:sldMasterMk cId="203597632" sldId="2147483661"/>
              <pc:sldLayoutMk cId="2056680098" sldId="2147483722"/>
              <ac:spMk id="5" creationId="{FB645C81-F165-495D-9C89-210B7B50A3E0}"/>
            </ac:spMkLst>
          </pc:spChg>
          <pc:picChg chg="add del mod">
            <ac:chgData name="Schultz, Marlou" userId="f0660b65-d62e-4b9c-a182-90121faa5e3f" providerId="ADAL" clId="{CA178C4A-953C-42A8-9D19-F03C7CE479C2}" dt="2021-06-16T12:06:29.028" v="43"/>
            <ac:picMkLst>
              <pc:docMk/>
              <pc:sldMasterMk cId="203597632" sldId="2147483661"/>
              <pc:sldLayoutMk cId="2056680098" sldId="2147483722"/>
              <ac:picMk id="8" creationId="{B2F75E3F-35E9-49A3-ACE1-F57FA4AD16FB}"/>
            </ac:picMkLst>
          </pc:picChg>
        </pc:sldLayoutChg>
      </pc:sldMasterChg>
    </pc:docChg>
  </pc:docChgLst>
  <pc:docChgLst>
    <pc:chgData name="Schultz, Marlou" userId="S::marlou.schultz@capgemini.com::f0660b65-d62e-4b9c-a182-90121faa5e3f" providerId="AD" clId="Web-{FE81032B-F784-5339-B7E1-FAF45E611EBE}"/>
    <pc:docChg chg="addSld delSld">
      <pc:chgData name="Schultz, Marlou" userId="S::marlou.schultz@capgemini.com::f0660b65-d62e-4b9c-a182-90121faa5e3f" providerId="AD" clId="Web-{FE81032B-F784-5339-B7E1-FAF45E611EBE}" dt="2021-09-07T09:01:47.149" v="1"/>
      <pc:docMkLst>
        <pc:docMk/>
      </pc:docMkLst>
      <pc:sldChg chg="new del">
        <pc:chgData name="Schultz, Marlou" userId="S::marlou.schultz@capgemini.com::f0660b65-d62e-4b9c-a182-90121faa5e3f" providerId="AD" clId="Web-{FE81032B-F784-5339-B7E1-FAF45E611EBE}" dt="2021-09-07T09:01:47.149" v="1"/>
        <pc:sldMkLst>
          <pc:docMk/>
          <pc:sldMk cId="820902771" sldId="1058"/>
        </pc:sldMkLst>
      </pc:sldChg>
    </pc:docChg>
  </pc:docChgLst>
  <pc:docChgLst>
    <pc:chgData name="Schultz, Marlou" userId="f0660b65-d62e-4b9c-a182-90121faa5e3f" providerId="ADAL" clId="{505DBA85-F3DC-4C0E-83F6-9BB3AF7681BC}"/>
    <pc:docChg chg="undo custSel addSld delSld modSld modMainMaster">
      <pc:chgData name="Schultz, Marlou" userId="f0660b65-d62e-4b9c-a182-90121faa5e3f" providerId="ADAL" clId="{505DBA85-F3DC-4C0E-83F6-9BB3AF7681BC}" dt="2021-09-07T10:27:22.147" v="38" actId="2696"/>
      <pc:docMkLst>
        <pc:docMk/>
      </pc:docMkLst>
      <pc:sldChg chg="modSp">
        <pc:chgData name="Schultz, Marlou" userId="f0660b65-d62e-4b9c-a182-90121faa5e3f" providerId="ADAL" clId="{505DBA85-F3DC-4C0E-83F6-9BB3AF7681BC}" dt="2021-09-07T10:25:48.489" v="0"/>
        <pc:sldMkLst>
          <pc:docMk/>
          <pc:sldMk cId="3882376303" sldId="1047"/>
        </pc:sldMkLst>
        <pc:spChg chg="mod">
          <ac:chgData name="Schultz, Marlou" userId="f0660b65-d62e-4b9c-a182-90121faa5e3f" providerId="ADAL" clId="{505DBA85-F3DC-4C0E-83F6-9BB3AF7681BC}" dt="2021-09-07T10:25:48.489" v="0"/>
          <ac:spMkLst>
            <pc:docMk/>
            <pc:sldMk cId="3882376303" sldId="1047"/>
            <ac:spMk id="2" creationId="{026DD7B0-AFDA-4751-9322-E197AAE98409}"/>
          </ac:spMkLst>
        </pc:spChg>
        <pc:spChg chg="mod">
          <ac:chgData name="Schultz, Marlou" userId="f0660b65-d62e-4b9c-a182-90121faa5e3f" providerId="ADAL" clId="{505DBA85-F3DC-4C0E-83F6-9BB3AF7681BC}" dt="2021-09-07T10:25:48.489" v="0"/>
          <ac:spMkLst>
            <pc:docMk/>
            <pc:sldMk cId="3882376303" sldId="1047"/>
            <ac:spMk id="3" creationId="{5A756D80-BCA6-46EC-BD76-A3424158F74D}"/>
          </ac:spMkLst>
        </pc:spChg>
        <pc:spChg chg="mod">
          <ac:chgData name="Schultz, Marlou" userId="f0660b65-d62e-4b9c-a182-90121faa5e3f" providerId="ADAL" clId="{505DBA85-F3DC-4C0E-83F6-9BB3AF7681BC}" dt="2021-09-07T10:25:48.489" v="0"/>
          <ac:spMkLst>
            <pc:docMk/>
            <pc:sldMk cId="3882376303" sldId="1047"/>
            <ac:spMk id="4" creationId="{7081B9EA-D5FD-4DD1-A6D8-C3C5CEFAA573}"/>
          </ac:spMkLst>
        </pc:spChg>
      </pc:sldChg>
      <pc:sldChg chg="modSp add del">
        <pc:chgData name="Schultz, Marlou" userId="f0660b65-d62e-4b9c-a182-90121faa5e3f" providerId="ADAL" clId="{505DBA85-F3DC-4C0E-83F6-9BB3AF7681BC}" dt="2021-09-07T10:27:11.441" v="37" actId="2696"/>
        <pc:sldMkLst>
          <pc:docMk/>
          <pc:sldMk cId="3182634831" sldId="1048"/>
        </pc:sldMkLst>
        <pc:spChg chg="mod">
          <ac:chgData name="Schultz, Marlou" userId="f0660b65-d62e-4b9c-a182-90121faa5e3f" providerId="ADAL" clId="{505DBA85-F3DC-4C0E-83F6-9BB3AF7681BC}" dt="2021-09-07T10:25:48.489" v="0"/>
          <ac:spMkLst>
            <pc:docMk/>
            <pc:sldMk cId="3182634831" sldId="1048"/>
            <ac:spMk id="5" creationId="{7467970E-04BB-4B0E-B16F-66F95AE2D81D}"/>
          </ac:spMkLst>
        </pc:spChg>
        <pc:spChg chg="mod">
          <ac:chgData name="Schultz, Marlou" userId="f0660b65-d62e-4b9c-a182-90121faa5e3f" providerId="ADAL" clId="{505DBA85-F3DC-4C0E-83F6-9BB3AF7681BC}" dt="2021-09-07T10:25:48.489" v="0"/>
          <ac:spMkLst>
            <pc:docMk/>
            <pc:sldMk cId="3182634831" sldId="1048"/>
            <ac:spMk id="6" creationId="{C74C51FB-C596-44B7-ABE2-886C72B657F8}"/>
          </ac:spMkLst>
        </pc:spChg>
        <pc:spChg chg="mod">
          <ac:chgData name="Schultz, Marlou" userId="f0660b65-d62e-4b9c-a182-90121faa5e3f" providerId="ADAL" clId="{505DBA85-F3DC-4C0E-83F6-9BB3AF7681BC}" dt="2021-09-07T10:25:48.489" v="0"/>
          <ac:spMkLst>
            <pc:docMk/>
            <pc:sldMk cId="3182634831" sldId="1048"/>
            <ac:spMk id="7" creationId="{F0FA6EE0-432C-441F-BCF8-8645021D6957}"/>
          </ac:spMkLst>
        </pc:spChg>
        <pc:spChg chg="mod">
          <ac:chgData name="Schultz, Marlou" userId="f0660b65-d62e-4b9c-a182-90121faa5e3f" providerId="ADAL" clId="{505DBA85-F3DC-4C0E-83F6-9BB3AF7681BC}" dt="2021-09-07T10:25:48.489" v="0"/>
          <ac:spMkLst>
            <pc:docMk/>
            <pc:sldMk cId="3182634831" sldId="1048"/>
            <ac:spMk id="8" creationId="{1FBA5072-B2D5-4885-8305-0D72996D056B}"/>
          </ac:spMkLst>
        </pc:spChg>
      </pc:sldChg>
      <pc:sldChg chg="modSp">
        <pc:chgData name="Schultz, Marlou" userId="f0660b65-d62e-4b9c-a182-90121faa5e3f" providerId="ADAL" clId="{505DBA85-F3DC-4C0E-83F6-9BB3AF7681BC}" dt="2021-09-07T10:25:48.489" v="0"/>
        <pc:sldMkLst>
          <pc:docMk/>
          <pc:sldMk cId="1176558560" sldId="1049"/>
        </pc:sldMkLst>
        <pc:spChg chg="mod">
          <ac:chgData name="Schultz, Marlou" userId="f0660b65-d62e-4b9c-a182-90121faa5e3f" providerId="ADAL" clId="{505DBA85-F3DC-4C0E-83F6-9BB3AF7681BC}" dt="2021-09-07T10:25:48.489" v="0"/>
          <ac:spMkLst>
            <pc:docMk/>
            <pc:sldMk cId="1176558560" sldId="1049"/>
            <ac:spMk id="2" creationId="{7F6791E4-6CE7-49C3-9299-C90FEB4C952F}"/>
          </ac:spMkLst>
        </pc:spChg>
      </pc:sldChg>
      <pc:sldChg chg="addSp delSp modSp mod chgLayout">
        <pc:chgData name="Schultz, Marlou" userId="f0660b65-d62e-4b9c-a182-90121faa5e3f" providerId="ADAL" clId="{505DBA85-F3DC-4C0E-83F6-9BB3AF7681BC}" dt="2021-09-07T10:26:47.967" v="33" actId="700"/>
        <pc:sldMkLst>
          <pc:docMk/>
          <pc:sldMk cId="966573190" sldId="1052"/>
        </pc:sldMkLst>
        <pc:spChg chg="add mod ord">
          <ac:chgData name="Schultz, Marlou" userId="f0660b65-d62e-4b9c-a182-90121faa5e3f" providerId="ADAL" clId="{505DBA85-F3DC-4C0E-83F6-9BB3AF7681BC}" dt="2021-09-07T10:26:47.967" v="33" actId="700"/>
          <ac:spMkLst>
            <pc:docMk/>
            <pc:sldMk cId="966573190" sldId="1052"/>
            <ac:spMk id="2" creationId="{5C9B3386-1486-4AFF-9679-110494063356}"/>
          </ac:spMkLst>
        </pc:spChg>
        <pc:spChg chg="add mod ord">
          <ac:chgData name="Schultz, Marlou" userId="f0660b65-d62e-4b9c-a182-90121faa5e3f" providerId="ADAL" clId="{505DBA85-F3DC-4C0E-83F6-9BB3AF7681BC}" dt="2021-09-07T10:26:47.967" v="33" actId="700"/>
          <ac:spMkLst>
            <pc:docMk/>
            <pc:sldMk cId="966573190" sldId="1052"/>
            <ac:spMk id="3" creationId="{9DC3BB3C-10D9-4152-854A-4B31332E4997}"/>
          </ac:spMkLst>
        </pc:spChg>
        <pc:spChg chg="del mod">
          <ac:chgData name="Schultz, Marlou" userId="f0660b65-d62e-4b9c-a182-90121faa5e3f" providerId="ADAL" clId="{505DBA85-F3DC-4C0E-83F6-9BB3AF7681BC}" dt="2021-09-07T10:26:47.967" v="33" actId="700"/>
          <ac:spMkLst>
            <pc:docMk/>
            <pc:sldMk cId="966573190" sldId="1052"/>
            <ac:spMk id="5" creationId="{B67F3234-226D-4360-B33F-63276B9C5101}"/>
          </ac:spMkLst>
        </pc:spChg>
        <pc:spChg chg="del mod">
          <ac:chgData name="Schultz, Marlou" userId="f0660b65-d62e-4b9c-a182-90121faa5e3f" providerId="ADAL" clId="{505DBA85-F3DC-4C0E-83F6-9BB3AF7681BC}" dt="2021-09-07T10:26:47.967" v="33" actId="700"/>
          <ac:spMkLst>
            <pc:docMk/>
            <pc:sldMk cId="966573190" sldId="1052"/>
            <ac:spMk id="6" creationId="{26B79EC2-5AC6-4D80-8AB0-9E96103E3FFE}"/>
          </ac:spMkLst>
        </pc:spChg>
      </pc:sldChg>
      <pc:sldChg chg="mod chgLayout">
        <pc:chgData name="Schultz, Marlou" userId="f0660b65-d62e-4b9c-a182-90121faa5e3f" providerId="ADAL" clId="{505DBA85-F3DC-4C0E-83F6-9BB3AF7681BC}" dt="2021-09-07T10:26:52.769" v="34" actId="700"/>
        <pc:sldMkLst>
          <pc:docMk/>
          <pc:sldMk cId="1663468128" sldId="1053"/>
        </pc:sldMkLst>
      </pc:sldChg>
      <pc:sldChg chg="addSp modSp mod modClrScheme chgLayout">
        <pc:chgData name="Schultz, Marlou" userId="f0660b65-d62e-4b9c-a182-90121faa5e3f" providerId="ADAL" clId="{505DBA85-F3DC-4C0E-83F6-9BB3AF7681BC}" dt="2021-09-07T10:26:57.758" v="35" actId="700"/>
        <pc:sldMkLst>
          <pc:docMk/>
          <pc:sldMk cId="2514371823" sldId="1054"/>
        </pc:sldMkLst>
        <pc:spChg chg="add mod">
          <ac:chgData name="Schultz, Marlou" userId="f0660b65-d62e-4b9c-a182-90121faa5e3f" providerId="ADAL" clId="{505DBA85-F3DC-4C0E-83F6-9BB3AF7681BC}" dt="2021-09-07T10:26:57.758" v="35" actId="700"/>
          <ac:spMkLst>
            <pc:docMk/>
            <pc:sldMk cId="2514371823" sldId="1054"/>
            <ac:spMk id="2" creationId="{615BB5A4-1DAF-4D4C-A550-73B9CA6DD3ED}"/>
          </ac:spMkLst>
        </pc:spChg>
      </pc:sldChg>
      <pc:sldChg chg="modSp del">
        <pc:chgData name="Schultz, Marlou" userId="f0660b65-d62e-4b9c-a182-90121faa5e3f" providerId="ADAL" clId="{505DBA85-F3DC-4C0E-83F6-9BB3AF7681BC}" dt="2021-09-07T10:27:22.147" v="38" actId="2696"/>
        <pc:sldMkLst>
          <pc:docMk/>
          <pc:sldMk cId="301994707" sldId="1057"/>
        </pc:sldMkLst>
        <pc:spChg chg="mod">
          <ac:chgData name="Schultz, Marlou" userId="f0660b65-d62e-4b9c-a182-90121faa5e3f" providerId="ADAL" clId="{505DBA85-F3DC-4C0E-83F6-9BB3AF7681BC}" dt="2021-09-07T10:25:48.489" v="0"/>
          <ac:spMkLst>
            <pc:docMk/>
            <pc:sldMk cId="301994707" sldId="1057"/>
            <ac:spMk id="6" creationId="{D4EB043A-5961-49E3-8BB3-07C9B3BFFB91}"/>
          </ac:spMkLst>
        </pc:spChg>
      </pc:sldChg>
      <pc:sldMasterChg chg="modSp mod delSldLayout">
        <pc:chgData name="Schultz, Marlou" userId="f0660b65-d62e-4b9c-a182-90121faa5e3f" providerId="ADAL" clId="{505DBA85-F3DC-4C0E-83F6-9BB3AF7681BC}" dt="2021-09-07T10:27:22.147" v="38" actId="2696"/>
        <pc:sldMasterMkLst>
          <pc:docMk/>
          <pc:sldMasterMk cId="3332273510" sldId="2147483723"/>
        </pc:sldMasterMkLst>
        <pc:spChg chg="mod">
          <ac:chgData name="Schultz, Marlou" userId="f0660b65-d62e-4b9c-a182-90121faa5e3f" providerId="ADAL" clId="{505DBA85-F3DC-4C0E-83F6-9BB3AF7681BC}" dt="2021-09-07T10:26:20.596" v="32" actId="20577"/>
          <ac:spMkLst>
            <pc:docMk/>
            <pc:sldMasterMk cId="3332273510" sldId="2147483723"/>
            <ac:spMk id="65" creationId="{5B538C81-213B-41EC-BB81-FEF313C9D880}"/>
          </ac:spMkLst>
        </pc:spChg>
        <pc:sldLayoutChg chg="del">
          <pc:chgData name="Schultz, Marlou" userId="f0660b65-d62e-4b9c-a182-90121faa5e3f" providerId="ADAL" clId="{505DBA85-F3DC-4C0E-83F6-9BB3AF7681BC}" dt="2021-09-07T10:27:22.147" v="38" actId="2696"/>
          <pc:sldLayoutMkLst>
            <pc:docMk/>
            <pc:sldMasterMk cId="3332273510" sldId="2147483723"/>
            <pc:sldLayoutMk cId="2550260915" sldId="214748375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hyperlink" Target="mailto:NLMicrosoftnieuwsbriefredactie@capgemini.onmicrosoft.com" TargetMode="External"/><Relationship Id="rId5" Type="http://schemas.openxmlformats.org/officeDocument/2006/relationships/hyperlink" Target="https://capgemini.sharepoint.com/sites/NLMicrosoft" TargetMode="External"/><Relationship Id="rId4" Type="http://schemas.openxmlformats.org/officeDocument/2006/relationships/hyperlink" Target="https://chat.whatsapp.com/BhAJ1vKGSGlIELjvFxR13u"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5" Type="http://schemas.openxmlformats.org/officeDocument/2006/relationships/image" Target="../media/image3.sv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tags" Target="../tags/tag7.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image" Target="../media/image3.sv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hyperlink" Target="mailto:NLMicrosoftnieuwsbriefredactie@capgemini.onmicrosoft.com"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ech Talk Titl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1053" y="3961483"/>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2227811" y="3058144"/>
            <a:ext cx="9563135" cy="1015663"/>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subject]</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pic>
        <p:nvPicPr>
          <p:cNvPr id="7" name="Graphic 6">
            <a:extLst>
              <a:ext uri="{FF2B5EF4-FFF2-40B4-BE49-F238E27FC236}">
                <a16:creationId xmlns:a16="http://schemas.microsoft.com/office/drawing/2014/main" id="{E956012A-291F-4FCA-A9CA-8E2E1C544DC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57371" y="1134636"/>
            <a:ext cx="484833" cy="484833"/>
          </a:xfrm>
          <a:prstGeom prst="rect">
            <a:avLst/>
          </a:prstGeom>
        </p:spPr>
      </p:pic>
      <p:sp>
        <p:nvSpPr>
          <p:cNvPr id="8" name="TextBox 7">
            <a:extLst>
              <a:ext uri="{FF2B5EF4-FFF2-40B4-BE49-F238E27FC236}">
                <a16:creationId xmlns:a16="http://schemas.microsoft.com/office/drawing/2014/main" id="{27AFB3F6-83E9-483F-925C-1094B12B4A33}"/>
              </a:ext>
            </a:extLst>
          </p:cNvPr>
          <p:cNvSpPr txBox="1"/>
          <p:nvPr userDrawn="1"/>
        </p:nvSpPr>
        <p:spPr>
          <a:xfrm>
            <a:off x="9270771" y="1183815"/>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
        <p:nvSpPr>
          <p:cNvPr id="9" name="Espace réservé du texte 15">
            <a:extLst>
              <a:ext uri="{FF2B5EF4-FFF2-40B4-BE49-F238E27FC236}">
                <a16:creationId xmlns:a16="http://schemas.microsoft.com/office/drawing/2014/main" id="{8D775897-05D9-4BF6-A153-992DB8FC69C1}"/>
              </a:ext>
            </a:extLst>
          </p:cNvPr>
          <p:cNvSpPr txBox="1">
            <a:spLocks/>
          </p:cNvSpPr>
          <p:nvPr userDrawn="1"/>
        </p:nvSpPr>
        <p:spPr>
          <a:xfrm>
            <a:off x="6234544" y="4887884"/>
            <a:ext cx="5957455" cy="1970117"/>
          </a:xfrm>
          <a:prstGeom prst="rect">
            <a:avLst/>
          </a:prstGeom>
        </p:spPr>
        <p:txBody>
          <a:bodyPr>
            <a:normAutofit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lease turn off your camera and microphone</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sk your questions or suggestions in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 moderator will monitor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This session will be recorded and posted on our SharePoin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will start at 12:01. Room for discussion at the end.</a:t>
            </a:r>
          </a:p>
        </p:txBody>
      </p:sp>
      <p:sp>
        <p:nvSpPr>
          <p:cNvPr id="10" name="Espace réservé du texte 15">
            <a:extLst>
              <a:ext uri="{FF2B5EF4-FFF2-40B4-BE49-F238E27FC236}">
                <a16:creationId xmlns:a16="http://schemas.microsoft.com/office/drawing/2014/main" id="{3A92EC2F-FACF-4488-B54C-92FD2B9C3A8A}"/>
              </a:ext>
            </a:extLst>
          </p:cNvPr>
          <p:cNvSpPr txBox="1">
            <a:spLocks/>
          </p:cNvSpPr>
          <p:nvPr userDrawn="1"/>
        </p:nvSpPr>
        <p:spPr>
          <a:xfrm>
            <a:off x="348794" y="2016925"/>
            <a:ext cx="7672988" cy="1130482"/>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Tech Talk:</a:t>
            </a:r>
          </a:p>
        </p:txBody>
      </p:sp>
    </p:spTree>
    <p:extLst>
      <p:ext uri="{BB962C8B-B14F-4D97-AF65-F5344CB8AC3E}">
        <p14:creationId xmlns:p14="http://schemas.microsoft.com/office/powerpoint/2010/main" val="3901980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28545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234139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9549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13847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01576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4813"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3"/>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chemeClr val="accent2"/>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92D05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3"/>
              </a:buClr>
              <a:defRPr sz="1400"/>
            </a:lvl2pPr>
            <a:lvl3pPr>
              <a:lnSpc>
                <a:spcPct val="100000"/>
              </a:lnSpc>
              <a:spcBef>
                <a:spcPts val="0"/>
              </a:spcBef>
              <a:buClr>
                <a:schemeClr val="accent3"/>
              </a:buClr>
              <a:defRPr sz="1400"/>
            </a:lvl3pPr>
            <a:lvl4pPr>
              <a:lnSpc>
                <a:spcPct val="100000"/>
              </a:lnSpc>
              <a:spcBef>
                <a:spcPts val="0"/>
              </a:spcBef>
              <a:buClr>
                <a:schemeClr val="accent3"/>
              </a:buClr>
              <a:defRPr sz="1400"/>
            </a:lvl4pPr>
            <a:lvl5pPr>
              <a:lnSpc>
                <a:spcPct val="100000"/>
              </a:lnSpc>
              <a:spcBef>
                <a:spcPts val="0"/>
              </a:spcBef>
              <a:buClr>
                <a:schemeClr val="accent3"/>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2"/>
              </a:buClr>
              <a:defRPr sz="1400"/>
            </a:lvl2pPr>
            <a:lvl3pPr>
              <a:lnSpc>
                <a:spcPct val="100000"/>
              </a:lnSpc>
              <a:spcBef>
                <a:spcPts val="0"/>
              </a:spcBef>
              <a:buClr>
                <a:schemeClr val="accent2"/>
              </a:buClr>
              <a:defRPr sz="1400"/>
            </a:lvl3pPr>
            <a:lvl4pPr>
              <a:lnSpc>
                <a:spcPct val="100000"/>
              </a:lnSpc>
              <a:spcBef>
                <a:spcPts val="0"/>
              </a:spcBef>
              <a:buClr>
                <a:schemeClr val="accent2"/>
              </a:buClr>
              <a:defRPr sz="1400"/>
            </a:lvl4pPr>
            <a:lvl5pPr>
              <a:lnSpc>
                <a:spcPct val="100000"/>
              </a:lnSpc>
              <a:spcBef>
                <a:spcPts val="0"/>
              </a:spcBef>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92D050"/>
              </a:buClr>
              <a:defRPr sz="1400"/>
            </a:lvl2pPr>
            <a:lvl3pPr>
              <a:lnSpc>
                <a:spcPct val="100000"/>
              </a:lnSpc>
              <a:spcBef>
                <a:spcPts val="0"/>
              </a:spcBef>
              <a:buClr>
                <a:srgbClr val="92D050"/>
              </a:buClr>
              <a:defRPr sz="1400"/>
            </a:lvl3pPr>
            <a:lvl4pPr>
              <a:lnSpc>
                <a:spcPct val="100000"/>
              </a:lnSpc>
              <a:spcBef>
                <a:spcPts val="0"/>
              </a:spcBef>
              <a:buClr>
                <a:srgbClr val="92D050"/>
              </a:buClr>
              <a:defRPr sz="1400"/>
            </a:lvl4pPr>
            <a:lvl5pPr>
              <a:lnSpc>
                <a:spcPct val="100000"/>
              </a:lnSpc>
              <a:spcBef>
                <a:spcPts val="0"/>
              </a:spcBef>
              <a:buClr>
                <a:srgbClr val="92D050"/>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66411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898981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699835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636306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439730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bout Us">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6771" y="0"/>
            <a:ext cx="6855229" cy="6855229"/>
          </a:xfrm>
          <a:prstGeom prst="rect">
            <a:avLst/>
          </a:prstGeom>
        </p:spPr>
      </p:pic>
      <p:sp>
        <p:nvSpPr>
          <p:cNvPr id="12" name="Espace réservé du texte 15">
            <a:extLst>
              <a:ext uri="{FF2B5EF4-FFF2-40B4-BE49-F238E27FC236}">
                <a16:creationId xmlns:a16="http://schemas.microsoft.com/office/drawing/2014/main" id="{FEA3E29E-2990-4C6E-A649-7CA0DCCDC4F8}"/>
              </a:ext>
            </a:extLst>
          </p:cNvPr>
          <p:cNvSpPr txBox="1">
            <a:spLocks/>
          </p:cNvSpPr>
          <p:nvPr userDrawn="1"/>
        </p:nvSpPr>
        <p:spPr>
          <a:xfrm>
            <a:off x="404813" y="3589665"/>
            <a:ext cx="4562476" cy="2808288"/>
          </a:xfrm>
          <a:prstGeom prst="rect">
            <a:avLst/>
          </a:prstGeom>
        </p:spPr>
        <p:txBody>
          <a:bodyPr>
            <a:normAutofit fontScale="62500" lnSpcReduction="2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onnects Microsoft engineers across all Dutch practice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MS, CIS, CSD, DCX, I&amp;D, FS</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Our platform:</a:t>
            </a: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hatsApp:</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4">
                  <a:extLst>
                    <a:ext uri="{A12FA001-AC4F-418D-AE19-62706E023703}">
                      <ahyp:hlinkClr xmlns:ahyp="http://schemas.microsoft.com/office/drawing/2018/hyperlinkcolor" val="tx"/>
                    </a:ext>
                  </a:extLst>
                </a:hlinkClick>
              </a:rPr>
              <a:t>https://chat.whatsapp.com/BhAJ1vKGSGlIELjvFxR13u</a:t>
            </a:r>
            <a:endPar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endParaRP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harePoint and Team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5">
                  <a:extLst>
                    <a:ext uri="{A12FA001-AC4F-418D-AE19-62706E023703}">
                      <ahyp:hlinkClr xmlns:ahyp="http://schemas.microsoft.com/office/drawing/2018/hyperlinkcolor" val="tx"/>
                    </a:ext>
                  </a:extLst>
                </a:hlinkClick>
              </a:rPr>
              <a:t>https://capgemini.sharepoint.com/sites/nlmicrosoft</a:t>
            </a:r>
          </a:p>
          <a:p>
            <a:pPr marL="184150" marR="0" lvl="2" indent="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None/>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are always looking for people who would like to share their knowledge.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Reach out to the redaction team: </a:t>
            </a:r>
            <a:br>
              <a:rPr kumimoji="0" lang="en-US" sz="1900" b="0" i="0" u="none" strike="noStrike" kern="1200" cap="none" spc="0" normalizeH="0" baseline="0" noProof="0">
                <a:ln>
                  <a:noFill/>
                </a:ln>
                <a:solidFill>
                  <a:prstClr val="black"/>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3" name="Espace réservé du texte 15">
            <a:extLst>
              <a:ext uri="{FF2B5EF4-FFF2-40B4-BE49-F238E27FC236}">
                <a16:creationId xmlns:a16="http://schemas.microsoft.com/office/drawing/2014/main" id="{94950936-7A6C-43A7-B7FB-0528CD7512CA}"/>
              </a:ext>
            </a:extLst>
          </p:cNvPr>
          <p:cNvSpPr txBox="1">
            <a:spLocks/>
          </p:cNvSpPr>
          <p:nvPr userDrawn="1"/>
        </p:nvSpPr>
        <p:spPr>
          <a:xfrm>
            <a:off x="404813" y="725947"/>
            <a:ext cx="4562476" cy="2421466"/>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NL microsoft cop</a:t>
            </a:r>
          </a:p>
        </p:txBody>
      </p:sp>
    </p:spTree>
    <p:extLst>
      <p:ext uri="{BB962C8B-B14F-4D97-AF65-F5344CB8AC3E}">
        <p14:creationId xmlns:p14="http://schemas.microsoft.com/office/powerpoint/2010/main" val="22913392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Tree>
    <p:extLst>
      <p:ext uri="{BB962C8B-B14F-4D97-AF65-F5344CB8AC3E}">
        <p14:creationId xmlns:p14="http://schemas.microsoft.com/office/powerpoint/2010/main" val="324733717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full screen image">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097E6017-AD2E-4323-9C64-094FAC4EA146}"/>
              </a:ext>
            </a:extLst>
          </p:cNvPr>
          <p:cNvSpPr>
            <a:spLocks noGrp="1"/>
          </p:cNvSpPr>
          <p:nvPr>
            <p:ph type="pic" sz="quarter" idx="12" hasCustomPrompt="1"/>
          </p:nvPr>
        </p:nvSpPr>
        <p:spPr>
          <a:xfrm>
            <a:off x="0" y="0"/>
            <a:ext cx="12192000" cy="6858000"/>
          </a:xfrm>
          <a:solidFill>
            <a:schemeClr val="accent1"/>
          </a:solidFill>
        </p:spPr>
        <p:txBody>
          <a:bodyPr/>
          <a:lstStyle>
            <a:lvl1pPr>
              <a:defRPr>
                <a:solidFill>
                  <a:schemeClr val="tx1">
                    <a:lumMod val="50000"/>
                    <a:lumOff val="50000"/>
                  </a:schemeClr>
                </a:solidFill>
              </a:defRPr>
            </a:lvl1pPr>
          </a:lstStyle>
          <a:p>
            <a:r>
              <a:rPr lang="de-DE" dirty="0"/>
              <a:t>Insert Picture and send to back</a:t>
            </a:r>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dirty="0"/>
              <a:t>Click to edit Master title style</a:t>
            </a:r>
            <a:endParaRPr lang="en-GB" dirty="0"/>
          </a:p>
        </p:txBody>
      </p:sp>
      <p:pic>
        <p:nvPicPr>
          <p:cNvPr id="9" name="Graphic 8">
            <a:extLst>
              <a:ext uri="{FF2B5EF4-FFF2-40B4-BE49-F238E27FC236}">
                <a16:creationId xmlns:a16="http://schemas.microsoft.com/office/drawing/2014/main" id="{E5BC67E3-B3CD-4ABF-B3E0-BB7787E4422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137083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RH image 2">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A3DDB1E3-DBC2-4BC5-B425-0564EACECF4E}"/>
              </a:ext>
            </a:extLst>
          </p:cNvPr>
          <p:cNvSpPr>
            <a:spLocks noGrp="1"/>
          </p:cNvSpPr>
          <p:nvPr>
            <p:ph type="pic" sz="quarter" idx="12" hasCustomPrompt="1"/>
          </p:nvPr>
        </p:nvSpPr>
        <p:spPr>
          <a:xfrm>
            <a:off x="7223124" y="0"/>
            <a:ext cx="4968876"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B97F3C2F-EC40-4BA4-BBBA-49D6AB1DED7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371657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Picture Placeholder 9">
            <a:extLst>
              <a:ext uri="{FF2B5EF4-FFF2-40B4-BE49-F238E27FC236}">
                <a16:creationId xmlns:a16="http://schemas.microsoft.com/office/drawing/2014/main" id="{52EDDEA6-1B7F-4EFF-883B-0E82FA6E6658}"/>
              </a:ext>
            </a:extLst>
          </p:cNvPr>
          <p:cNvSpPr>
            <a:spLocks noGrp="1"/>
          </p:cNvSpPr>
          <p:nvPr>
            <p:ph type="pic" sz="quarter" idx="13" hasCustomPrompt="1"/>
          </p:nvPr>
        </p:nvSpPr>
        <p:spPr>
          <a:xfrm>
            <a:off x="5128002" y="0"/>
            <a:ext cx="7063997"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638470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90982A4-1C95-45AB-97D8-628A9C963E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179767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rple">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EE27E9-B1A6-4A2B-AD31-9888A0FCFD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101716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21630420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accent1"/>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pic>
        <p:nvPicPr>
          <p:cNvPr id="3" name="Graphic 2">
            <a:extLst>
              <a:ext uri="{FF2B5EF4-FFF2-40B4-BE49-F238E27FC236}">
                <a16:creationId xmlns:a16="http://schemas.microsoft.com/office/drawing/2014/main" id="{F0551047-910C-414B-B006-2BEEB80E36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579172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4" name="Graphic 23">
            <a:extLst>
              <a:ext uri="{FF2B5EF4-FFF2-40B4-BE49-F238E27FC236}">
                <a16:creationId xmlns:a16="http://schemas.microsoft.com/office/drawing/2014/main" id="{72F5F467-E997-42E7-895F-441B7CD009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52501" y="930594"/>
            <a:ext cx="484833" cy="484833"/>
          </a:xfrm>
          <a:prstGeom prst="rect">
            <a:avLst/>
          </a:prstGeom>
        </p:spPr>
      </p:pic>
      <p:sp>
        <p:nvSpPr>
          <p:cNvPr id="25" name="TextBox 24">
            <a:extLst>
              <a:ext uri="{FF2B5EF4-FFF2-40B4-BE49-F238E27FC236}">
                <a16:creationId xmlns:a16="http://schemas.microsoft.com/office/drawing/2014/main" id="{2EB1E887-4188-4755-AC4C-9ADFC9040807}"/>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275616220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23" name="Image 5" descr="Une image contenant texte&#10;&#10;Description générée automatiquement">
            <a:extLst>
              <a:ext uri="{FF2B5EF4-FFF2-40B4-BE49-F238E27FC236}">
                <a16:creationId xmlns:a16="http://schemas.microsoft.com/office/drawing/2014/main" id="{EC5ED11C-A086-4536-8733-E2AA6FE4719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4881524"/>
            <a:ext cx="3024000" cy="1226177"/>
          </a:xfrm>
          <a:prstGeom prst="rect">
            <a:avLst/>
          </a:prstGeom>
        </p:spPr>
      </p:pic>
      <p:pic>
        <p:nvPicPr>
          <p:cNvPr id="25" name="Graphic 24">
            <a:extLst>
              <a:ext uri="{FF2B5EF4-FFF2-40B4-BE49-F238E27FC236}">
                <a16:creationId xmlns:a16="http://schemas.microsoft.com/office/drawing/2014/main" id="{41BE9FB1-36F7-4EFC-AEFB-A9D3A85BECDB}"/>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967622" y="5755512"/>
            <a:ext cx="484833" cy="484833"/>
          </a:xfrm>
          <a:prstGeom prst="rect">
            <a:avLst/>
          </a:prstGeom>
        </p:spPr>
      </p:pic>
      <p:sp>
        <p:nvSpPr>
          <p:cNvPr id="26" name="TextBox 25">
            <a:extLst>
              <a:ext uri="{FF2B5EF4-FFF2-40B4-BE49-F238E27FC236}">
                <a16:creationId xmlns:a16="http://schemas.microsoft.com/office/drawing/2014/main" id="{18090D85-D598-4896-ACD9-F3E9AA54318F}"/>
              </a:ext>
            </a:extLst>
          </p:cNvPr>
          <p:cNvSpPr txBox="1"/>
          <p:nvPr userDrawn="1"/>
        </p:nvSpPr>
        <p:spPr>
          <a:xfrm>
            <a:off x="8881022" y="5804691"/>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653942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540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600" b="0" i="0" u="none" strike="noStrike" kern="1200" cap="all" spc="0" normalizeH="0" baseline="0" noProof="0">
                <a:ln>
                  <a:noFill/>
                </a:ln>
                <a:solidFill>
                  <a:srgbClr val="FFFFFF"/>
                </a:solidFill>
                <a:effectLst/>
                <a:uLnTx/>
                <a:uFillTx/>
                <a:latin typeface="Ubuntu Medium"/>
                <a:ea typeface="+mn-ea"/>
                <a:cs typeface="+mn-cs"/>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Monthly, short and easy to contribut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Stay up to date with latest trend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Get to know other professional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Knowledge sharing, helping each other</a:t>
            </a:r>
          </a:p>
        </p:txBody>
      </p:sp>
      <p:sp>
        <p:nvSpPr>
          <p:cNvPr id="8" name="Espace réservé du texte 15">
            <a:extLst>
              <a:ext uri="{FF2B5EF4-FFF2-40B4-BE49-F238E27FC236}">
                <a16:creationId xmlns:a16="http://schemas.microsoft.com/office/drawing/2014/main" id="{283C0E57-134A-413A-90C7-6A33AAE35FA4}"/>
              </a:ext>
            </a:extLst>
          </p:cNvPr>
          <p:cNvSpPr txBox="1">
            <a:spLocks/>
          </p:cNvSpPr>
          <p:nvPr userDrawn="1"/>
        </p:nvSpPr>
        <p:spPr>
          <a:xfrm>
            <a:off x="289559" y="1461185"/>
            <a:ext cx="11382374" cy="4951413"/>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If you would like to share your knowledge, or have a subject you would like to know more about, please let us know:</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p:txBody>
      </p:sp>
      <p:sp>
        <p:nvSpPr>
          <p:cNvPr id="10" name="Espace réservé du texte 15">
            <a:extLst>
              <a:ext uri="{FF2B5EF4-FFF2-40B4-BE49-F238E27FC236}">
                <a16:creationId xmlns:a16="http://schemas.microsoft.com/office/drawing/2014/main" id="{38A14040-65C1-4001-B67C-8BCA1024F716}"/>
              </a:ext>
            </a:extLst>
          </p:cNvPr>
          <p:cNvSpPr txBox="1">
            <a:spLocks/>
          </p:cNvSpPr>
          <p:nvPr userDrawn="1"/>
        </p:nvSpPr>
        <p:spPr>
          <a:xfrm>
            <a:off x="289559" y="2907779"/>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dirty="0">
                <a:ln>
                  <a:noFill/>
                </a:ln>
                <a:solidFill>
                  <a:srgbClr val="FFFFFF"/>
                </a:solidFill>
                <a:effectLst/>
                <a:uLnTx/>
                <a:uFillTx/>
                <a:latin typeface="Ubuntu"/>
                <a:ea typeface="+mn-ea"/>
                <a:cs typeface="+mn-cs"/>
              </a:rPr>
              <a:t>Future sessions</a:t>
            </a:r>
          </a:p>
        </p:txBody>
      </p:sp>
      <p:sp>
        <p:nvSpPr>
          <p:cNvPr id="12" name="Text Placeholder 8">
            <a:extLst>
              <a:ext uri="{FF2B5EF4-FFF2-40B4-BE49-F238E27FC236}">
                <a16:creationId xmlns:a16="http://schemas.microsoft.com/office/drawing/2014/main" id="{37BA16D5-A951-447E-9781-07710943C628}"/>
              </a:ext>
            </a:extLst>
          </p:cNvPr>
          <p:cNvSpPr>
            <a:spLocks noGrp="1"/>
          </p:cNvSpPr>
          <p:nvPr>
            <p:ph type="body" sz="quarter" idx="11" hasCustomPrompt="1"/>
          </p:nvPr>
        </p:nvSpPr>
        <p:spPr>
          <a:xfrm>
            <a:off x="403855" y="3877123"/>
            <a:ext cx="11382374" cy="307777"/>
          </a:xfrm>
        </p:spPr>
        <p:txBody>
          <a:bodyPr wrap="square" anchor="t">
            <a:spAutoFit/>
          </a:bodyPr>
          <a:lstStyle>
            <a:lvl1pPr marL="342900" indent="-342900">
              <a:buFont typeface="Wingdings" panose="05000000000000000000" pitchFamily="2" charset="2"/>
              <a:buChar char="§"/>
              <a:defRPr cap="none" baseline="0">
                <a:solidFill>
                  <a:schemeClr val="bg1"/>
                </a:solidFill>
                <a:latin typeface="+mn-lt"/>
              </a:defRPr>
            </a:lvl1pPr>
            <a:lvl2pPr marL="88900" indent="0">
              <a:buNone/>
              <a:defRPr/>
            </a:lvl2pPr>
          </a:lstStyle>
          <a:p>
            <a:pPr marL="342900" indent="-342900">
              <a:buFont typeface="Arial" panose="020B0604020202020204" pitchFamily="34" charset="0"/>
              <a:buChar char="•"/>
            </a:pPr>
            <a:r>
              <a:rPr lang="nl-NL" dirty="0">
                <a:solidFill>
                  <a:schemeClr val="bg1"/>
                </a:solidFill>
              </a:rPr>
              <a:t>Date – Speaker – Subject [red.]</a:t>
            </a:r>
          </a:p>
        </p:txBody>
      </p:sp>
    </p:spTree>
    <p:extLst>
      <p:ext uri="{BB962C8B-B14F-4D97-AF65-F5344CB8AC3E}">
        <p14:creationId xmlns:p14="http://schemas.microsoft.com/office/powerpoint/2010/main" val="36039716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5" name="Graphic 4">
            <a:extLst>
              <a:ext uri="{FF2B5EF4-FFF2-40B4-BE49-F238E27FC236}">
                <a16:creationId xmlns:a16="http://schemas.microsoft.com/office/drawing/2014/main" id="{BA69DD0F-0D39-4965-B9E5-54AD462F949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2501" y="930594"/>
            <a:ext cx="484833" cy="484833"/>
          </a:xfrm>
          <a:prstGeom prst="rect">
            <a:avLst/>
          </a:prstGeom>
        </p:spPr>
      </p:pic>
      <p:sp>
        <p:nvSpPr>
          <p:cNvPr id="6" name="TextBox 5">
            <a:extLst>
              <a:ext uri="{FF2B5EF4-FFF2-40B4-BE49-F238E27FC236}">
                <a16:creationId xmlns:a16="http://schemas.microsoft.com/office/drawing/2014/main" id="{72AB21E5-85F5-40C0-8C2F-8B18ED43F600}"/>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418938573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216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nl-NL" sz="2600" b="0" cap="all" baseline="0" dirty="0">
                <a:solidFill>
                  <a:schemeClr val="bg1"/>
                </a:solidFill>
                <a:latin typeface="+mj-lt"/>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Monthly, short and easy to contribute</a:t>
            </a:r>
          </a:p>
          <a:p>
            <a:endParaRPr lang="nl-NL" dirty="0">
              <a:solidFill>
                <a:schemeClr val="bg1"/>
              </a:solidFill>
            </a:endParaRPr>
          </a:p>
          <a:p>
            <a:r>
              <a:rPr lang="nl-NL" dirty="0">
                <a:solidFill>
                  <a:schemeClr val="bg1"/>
                </a:solidFill>
              </a:rPr>
              <a:t>Goals:</a:t>
            </a:r>
          </a:p>
          <a:p>
            <a:pPr marL="342900" indent="-342900">
              <a:buFont typeface="Arial" panose="020B0604020202020204" pitchFamily="34" charset="0"/>
              <a:buChar char="•"/>
            </a:pPr>
            <a:r>
              <a:rPr lang="nl-NL" dirty="0">
                <a:solidFill>
                  <a:schemeClr val="bg1"/>
                </a:solidFill>
              </a:rPr>
              <a:t>Stay up to date with latest trends</a:t>
            </a:r>
          </a:p>
          <a:p>
            <a:pPr marL="342900" indent="-342900">
              <a:buFont typeface="Arial" panose="020B0604020202020204" pitchFamily="34" charset="0"/>
              <a:buChar char="•"/>
            </a:pPr>
            <a:r>
              <a:rPr lang="nl-NL" dirty="0">
                <a:solidFill>
                  <a:schemeClr val="bg1"/>
                </a:solidFill>
              </a:rPr>
              <a:t>Get to know other professionals</a:t>
            </a:r>
          </a:p>
          <a:p>
            <a:pPr marL="342900" indent="-342900">
              <a:buFont typeface="Arial" panose="020B0604020202020204" pitchFamily="34" charset="0"/>
              <a:buChar char="•"/>
            </a:pPr>
            <a:r>
              <a:rPr lang="nl-NL" dirty="0">
                <a:solidFill>
                  <a:schemeClr val="bg1"/>
                </a:solidFill>
              </a:rPr>
              <a:t>Knowledge sharing, helping each other</a:t>
            </a:r>
          </a:p>
        </p:txBody>
      </p:sp>
    </p:spTree>
    <p:extLst>
      <p:ext uri="{BB962C8B-B14F-4D97-AF65-F5344CB8AC3E}">
        <p14:creationId xmlns:p14="http://schemas.microsoft.com/office/powerpoint/2010/main" val="2135942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 Talk Start Presentation">
    <p:bg>
      <p:bgPr>
        <a:solidFill>
          <a:schemeClr val="accent4"/>
        </a:solidFill>
        <a:effectLst/>
      </p:bgPr>
    </p:bg>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FE23A922-587C-4E3A-8C75-7062A00957AE}"/>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nl-NL"/>
              <a:t>[start your </a:t>
            </a:r>
            <a:br>
              <a:rPr lang="nl-NL"/>
            </a:br>
            <a:r>
              <a:rPr lang="nl-NL"/>
              <a:t>presentation he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pic>
        <p:nvPicPr>
          <p:cNvPr id="10" name="Graphic 9">
            <a:extLst>
              <a:ext uri="{FF2B5EF4-FFF2-40B4-BE49-F238E27FC236}">
                <a16:creationId xmlns:a16="http://schemas.microsoft.com/office/drawing/2014/main" id="{C43015CC-9686-4F73-983A-D53D312824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61324197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ch Talk Demo">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demo</a:t>
            </a:r>
          </a:p>
        </p:txBody>
      </p:sp>
      <p:sp>
        <p:nvSpPr>
          <p:cNvPr id="8" name="Picture Placeholder 9">
            <a:extLst>
              <a:ext uri="{FF2B5EF4-FFF2-40B4-BE49-F238E27FC236}">
                <a16:creationId xmlns:a16="http://schemas.microsoft.com/office/drawing/2014/main" id="{1FFEB988-4336-42AB-9AFE-4A95767CB419}"/>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pic>
        <p:nvPicPr>
          <p:cNvPr id="10" name="Graphic 9">
            <a:extLst>
              <a:ext uri="{FF2B5EF4-FFF2-40B4-BE49-F238E27FC236}">
                <a16:creationId xmlns:a16="http://schemas.microsoft.com/office/drawing/2014/main" id="{18664CB5-5DD5-42AD-948B-EABB087B3B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144472266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ch Talk Questions">
    <p:bg>
      <p:bgPr>
        <a:solidFill>
          <a:schemeClr val="accent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Any questions?</a:t>
            </a:r>
          </a:p>
        </p:txBody>
      </p:sp>
    </p:spTree>
    <p:extLst>
      <p:ext uri="{BB962C8B-B14F-4D97-AF65-F5344CB8AC3E}">
        <p14:creationId xmlns:p14="http://schemas.microsoft.com/office/powerpoint/2010/main" val="360373934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27876"/>
            <a:ext cx="6888162"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pic>
        <p:nvPicPr>
          <p:cNvPr id="6" name="Graphic 5">
            <a:extLst>
              <a:ext uri="{FF2B5EF4-FFF2-40B4-BE49-F238E27FC236}">
                <a16:creationId xmlns:a16="http://schemas.microsoft.com/office/drawing/2014/main" id="{AA9D831B-61D4-4C48-8BC8-FAA5A2A418E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6240" y="569112"/>
            <a:ext cx="484833" cy="484833"/>
          </a:xfrm>
          <a:prstGeom prst="rect">
            <a:avLst/>
          </a:prstGeom>
        </p:spPr>
      </p:pic>
      <p:sp>
        <p:nvSpPr>
          <p:cNvPr id="8" name="TextBox 7">
            <a:extLst>
              <a:ext uri="{FF2B5EF4-FFF2-40B4-BE49-F238E27FC236}">
                <a16:creationId xmlns:a16="http://schemas.microsoft.com/office/drawing/2014/main" id="{1A4A3D1B-2996-4901-8C9F-4236FF627CAB}"/>
              </a:ext>
            </a:extLst>
          </p:cNvPr>
          <p:cNvSpPr txBox="1"/>
          <p:nvPr userDrawn="1"/>
        </p:nvSpPr>
        <p:spPr>
          <a:xfrm>
            <a:off x="2754569"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9478393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pic>
        <p:nvPicPr>
          <p:cNvPr id="11" name="Graphic 10">
            <a:extLst>
              <a:ext uri="{FF2B5EF4-FFF2-40B4-BE49-F238E27FC236}">
                <a16:creationId xmlns:a16="http://schemas.microsoft.com/office/drawing/2014/main" id="{9A9EED92-F079-4798-B452-C97F35569D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70271" y="1120459"/>
            <a:ext cx="484833" cy="484833"/>
          </a:xfrm>
          <a:prstGeom prst="rect">
            <a:avLst/>
          </a:prstGeom>
        </p:spPr>
      </p:pic>
      <p:sp>
        <p:nvSpPr>
          <p:cNvPr id="12" name="TextBox 11">
            <a:extLst>
              <a:ext uri="{FF2B5EF4-FFF2-40B4-BE49-F238E27FC236}">
                <a16:creationId xmlns:a16="http://schemas.microsoft.com/office/drawing/2014/main" id="{6EB8A50B-B177-459A-89C9-F037D2BB1163}"/>
              </a:ext>
            </a:extLst>
          </p:cNvPr>
          <p:cNvSpPr txBox="1"/>
          <p:nvPr userDrawn="1"/>
        </p:nvSpPr>
        <p:spPr>
          <a:xfrm>
            <a:off x="9183671" y="1169638"/>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17208658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pic>
        <p:nvPicPr>
          <p:cNvPr id="8" name="Graphic 7">
            <a:extLst>
              <a:ext uri="{FF2B5EF4-FFF2-40B4-BE49-F238E27FC236}">
                <a16:creationId xmlns:a16="http://schemas.microsoft.com/office/drawing/2014/main" id="{EFEA03A3-7406-40B4-94C6-ECCC6684B6F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57504" y="569112"/>
            <a:ext cx="484833" cy="484833"/>
          </a:xfrm>
          <a:prstGeom prst="rect">
            <a:avLst/>
          </a:prstGeom>
        </p:spPr>
      </p:pic>
      <p:sp>
        <p:nvSpPr>
          <p:cNvPr id="9" name="TextBox 8">
            <a:extLst>
              <a:ext uri="{FF2B5EF4-FFF2-40B4-BE49-F238E27FC236}">
                <a16:creationId xmlns:a16="http://schemas.microsoft.com/office/drawing/2014/main" id="{35CAA5AC-0456-4BAF-950A-569979DBD557}"/>
              </a:ext>
            </a:extLst>
          </p:cNvPr>
          <p:cNvSpPr txBox="1"/>
          <p:nvPr userDrawn="1"/>
        </p:nvSpPr>
        <p:spPr>
          <a:xfrm>
            <a:off x="2775833"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65859041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extLst>
              <p:ext uri="{D42A27DB-BD31-4B8C-83A1-F6EECF244321}">
                <p14:modId xmlns:p14="http://schemas.microsoft.com/office/powerpoint/2010/main" val="312937983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le Placeholder 1"/>
          <p:cNvSpPr>
            <a:spLocks noGrp="1"/>
          </p:cNvSpPr>
          <p:nvPr>
            <p:ph type="title"/>
          </p:nvPr>
        </p:nvSpPr>
        <p:spPr>
          <a:xfrm>
            <a:off x="404813" y="388188"/>
            <a:ext cx="10947772" cy="716711"/>
          </a:xfrm>
          <a:prstGeom prst="rect">
            <a:avLst/>
          </a:prstGeom>
          <a:noFill/>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5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8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urity Class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0: Publ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1: Company 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2: Company Restricted / Customer restri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4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A6A6A6"/>
                </a:solidFill>
                <a:effectLst/>
                <a:uLnTx/>
                <a:uFillTx/>
                <a:latin typeface="Ubuntu" panose="020B0504030602030204" pitchFamily="34" charset="0"/>
                <a:ea typeface="+mn-ea"/>
                <a:cs typeface="Arial" panose="020B0604020202020204" pitchFamily="34" charset="0"/>
              </a:rPr>
              <a:t>CI/CD &amp; Azure Kubernetes services |  Joost Went |  9-12-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1. All rights reserved  |</a:t>
            </a:r>
          </a:p>
        </p:txBody>
      </p:sp>
      <p:pic>
        <p:nvPicPr>
          <p:cNvPr id="62" name="Graphic 61">
            <a:extLst>
              <a:ext uri="{FF2B5EF4-FFF2-40B4-BE49-F238E27FC236}">
                <a16:creationId xmlns:a16="http://schemas.microsoft.com/office/drawing/2014/main" id="{053B3565-79CB-4C21-AA08-B4E201BB5F4D}"/>
              </a:ext>
            </a:extLst>
          </p:cNvPr>
          <p:cNvPicPr>
            <a:picLocks noChangeAspect="1"/>
          </p:cNvPicPr>
          <p:nvPr userDrawn="1"/>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3227351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bg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286000" indent="0" algn="l" defTabSz="914400" rtl="0" eaLnBrk="1" latinLnBrk="0" hangingPunct="1">
        <a:lnSpc>
          <a:spcPct val="90000"/>
        </a:lnSpc>
        <a:spcBef>
          <a:spcPts val="500"/>
        </a:spcBef>
        <a:buClr>
          <a:schemeClr val="accent3"/>
        </a:buClr>
        <a:buSzPct val="50000"/>
        <a:buFont typeface="Courier New" panose="02070309020205020404" pitchFamily="49"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DC3BB3C-10D9-4152-854A-4B31332E4997}"/>
              </a:ext>
            </a:extLst>
          </p:cNvPr>
          <p:cNvSpPr>
            <a:spLocks noGrp="1"/>
          </p:cNvSpPr>
          <p:nvPr>
            <p:ph type="subTitle" idx="1"/>
          </p:nvPr>
        </p:nvSpPr>
        <p:spPr>
          <a:xfrm>
            <a:off x="401054" y="4073807"/>
            <a:ext cx="11379200" cy="307777"/>
          </a:xfrm>
        </p:spPr>
        <p:txBody>
          <a:bodyPr/>
          <a:lstStyle/>
          <a:p>
            <a:r>
              <a:rPr lang="nl-NL" dirty="0"/>
              <a:t>Joost Went</a:t>
            </a:r>
          </a:p>
        </p:txBody>
      </p:sp>
      <p:sp>
        <p:nvSpPr>
          <p:cNvPr id="2" name="Title 1">
            <a:extLst>
              <a:ext uri="{FF2B5EF4-FFF2-40B4-BE49-F238E27FC236}">
                <a16:creationId xmlns:a16="http://schemas.microsoft.com/office/drawing/2014/main" id="{5C9B3386-1486-4AFF-9679-110494063356}"/>
              </a:ext>
            </a:extLst>
          </p:cNvPr>
          <p:cNvSpPr>
            <a:spLocks noGrp="1"/>
          </p:cNvSpPr>
          <p:nvPr>
            <p:ph type="ctrTitle"/>
          </p:nvPr>
        </p:nvSpPr>
        <p:spPr>
          <a:xfrm>
            <a:off x="2227811" y="3519809"/>
            <a:ext cx="9563135" cy="553998"/>
          </a:xfrm>
        </p:spPr>
        <p:txBody>
          <a:bodyPr/>
          <a:lstStyle/>
          <a:p>
            <a:r>
              <a:rPr lang="nl-NL" sz="3600" dirty="0"/>
              <a:t>CI/CD &amp; </a:t>
            </a:r>
            <a:r>
              <a:rPr lang="nl-NL" sz="3600" dirty="0" err="1"/>
              <a:t>Azure</a:t>
            </a:r>
            <a:r>
              <a:rPr lang="nl-NL" sz="3600" dirty="0"/>
              <a:t> </a:t>
            </a:r>
            <a:r>
              <a:rPr lang="nl-NL" sz="3600" dirty="0" err="1"/>
              <a:t>Kubernetes</a:t>
            </a:r>
            <a:r>
              <a:rPr lang="nl-NL" sz="3600" dirty="0"/>
              <a:t> services</a:t>
            </a:r>
          </a:p>
        </p:txBody>
      </p:sp>
    </p:spTree>
    <p:extLst>
      <p:ext uri="{BB962C8B-B14F-4D97-AF65-F5344CB8AC3E}">
        <p14:creationId xmlns:p14="http://schemas.microsoft.com/office/powerpoint/2010/main" val="966573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C6FE05-9876-4B0F-A7AB-72302E83887C}"/>
              </a:ext>
            </a:extLst>
          </p:cNvPr>
          <p:cNvSpPr>
            <a:spLocks noGrp="1"/>
          </p:cNvSpPr>
          <p:nvPr>
            <p:ph type="body" sz="quarter" idx="10"/>
          </p:nvPr>
        </p:nvSpPr>
        <p:spPr/>
        <p:txBody>
          <a:bodyPr/>
          <a:lstStyle/>
          <a:p>
            <a:pPr marL="342900" indent="-342900">
              <a:buFontTx/>
              <a:buChar char="-"/>
            </a:pPr>
            <a:r>
              <a:rPr lang="en-US" dirty="0"/>
              <a:t>Service Connections</a:t>
            </a:r>
          </a:p>
          <a:p>
            <a:pPr marL="520700" lvl="1" indent="-342900">
              <a:buFontTx/>
              <a:buChar char="-"/>
            </a:pPr>
            <a:r>
              <a:rPr lang="en-US" dirty="0"/>
              <a:t>GitHub</a:t>
            </a:r>
          </a:p>
          <a:p>
            <a:pPr marL="520700" lvl="1" indent="-342900">
              <a:buFontTx/>
              <a:buChar char="-"/>
            </a:pPr>
            <a:r>
              <a:rPr lang="en-US" dirty="0"/>
              <a:t>Docker Registry</a:t>
            </a:r>
          </a:p>
          <a:p>
            <a:pPr marL="520700" lvl="1" indent="-342900">
              <a:buFontTx/>
              <a:buChar char="-"/>
            </a:pPr>
            <a:r>
              <a:rPr lang="en-US" dirty="0"/>
              <a:t>Kubernetes </a:t>
            </a:r>
          </a:p>
          <a:p>
            <a:pPr lvl="1" indent="0">
              <a:buNone/>
            </a:pPr>
            <a:endParaRPr lang="en-US" dirty="0"/>
          </a:p>
          <a:p>
            <a:pPr marL="342900" indent="-342900">
              <a:buFontTx/>
              <a:buChar char="-"/>
            </a:pPr>
            <a:r>
              <a:rPr lang="en-US" dirty="0"/>
              <a:t>Tasks</a:t>
            </a:r>
          </a:p>
          <a:p>
            <a:pPr marL="520700" lvl="1" indent="-342900">
              <a:buFontTx/>
              <a:buChar char="-"/>
            </a:pPr>
            <a:r>
              <a:rPr lang="en-US" dirty="0"/>
              <a:t>Docker@2 </a:t>
            </a:r>
            <a:r>
              <a:rPr lang="en-US" dirty="0" err="1"/>
              <a:t>buildAndPush</a:t>
            </a:r>
            <a:endParaRPr lang="en-US" dirty="0"/>
          </a:p>
          <a:p>
            <a:pPr marL="520700" lvl="1" indent="-342900">
              <a:buFontTx/>
              <a:buChar char="-"/>
            </a:pPr>
            <a:r>
              <a:rPr lang="nl-NL" dirty="0"/>
              <a:t>KubernetesManifest@0 </a:t>
            </a:r>
            <a:r>
              <a:rPr lang="nl-NL" dirty="0" err="1"/>
              <a:t>deploy</a:t>
            </a:r>
            <a:endParaRPr lang="nl-NL" dirty="0"/>
          </a:p>
        </p:txBody>
      </p:sp>
      <p:sp>
        <p:nvSpPr>
          <p:cNvPr id="3" name="Title 2">
            <a:extLst>
              <a:ext uri="{FF2B5EF4-FFF2-40B4-BE49-F238E27FC236}">
                <a16:creationId xmlns:a16="http://schemas.microsoft.com/office/drawing/2014/main" id="{42DBAC37-2287-448A-96B8-2AAC6FF313B9}"/>
              </a:ext>
            </a:extLst>
          </p:cNvPr>
          <p:cNvSpPr>
            <a:spLocks noGrp="1"/>
          </p:cNvSpPr>
          <p:nvPr>
            <p:ph type="title"/>
          </p:nvPr>
        </p:nvSpPr>
        <p:spPr/>
        <p:txBody>
          <a:bodyPr/>
          <a:lstStyle/>
          <a:p>
            <a:r>
              <a:rPr lang="en-US" dirty="0"/>
              <a:t>The Pipeline</a:t>
            </a:r>
            <a:endParaRPr lang="nl-NL" dirty="0"/>
          </a:p>
        </p:txBody>
      </p:sp>
    </p:spTree>
    <p:extLst>
      <p:ext uri="{BB962C8B-B14F-4D97-AF65-F5344CB8AC3E}">
        <p14:creationId xmlns:p14="http://schemas.microsoft.com/office/powerpoint/2010/main" val="4005016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26DD7B0-AFDA-4751-9322-E197AAE98409}"/>
              </a:ext>
            </a:extLst>
          </p:cNvPr>
          <p:cNvSpPr>
            <a:spLocks noGrp="1"/>
          </p:cNvSpPr>
          <p:nvPr>
            <p:ph type="subTitle" idx="1"/>
          </p:nvPr>
        </p:nvSpPr>
        <p:spPr/>
        <p:txBody>
          <a:bodyPr/>
          <a:lstStyle/>
          <a:p>
            <a:endParaRPr lang="nl-NL"/>
          </a:p>
        </p:txBody>
      </p:sp>
      <p:sp>
        <p:nvSpPr>
          <p:cNvPr id="3" name="Text Placeholder 2">
            <a:extLst>
              <a:ext uri="{FF2B5EF4-FFF2-40B4-BE49-F238E27FC236}">
                <a16:creationId xmlns:a16="http://schemas.microsoft.com/office/drawing/2014/main" id="{5A756D80-BCA6-46EC-BD76-A3424158F74D}"/>
              </a:ext>
            </a:extLst>
          </p:cNvPr>
          <p:cNvSpPr>
            <a:spLocks noGrp="1"/>
          </p:cNvSpPr>
          <p:nvPr>
            <p:ph type="body" sz="quarter" idx="10"/>
          </p:nvPr>
        </p:nvSpPr>
        <p:spPr/>
        <p:txBody>
          <a:bodyPr/>
          <a:lstStyle/>
          <a:p>
            <a:endParaRPr lang="nl-NL"/>
          </a:p>
        </p:txBody>
      </p:sp>
      <p:sp>
        <p:nvSpPr>
          <p:cNvPr id="4" name="Picture Placeholder 3">
            <a:extLst>
              <a:ext uri="{FF2B5EF4-FFF2-40B4-BE49-F238E27FC236}">
                <a16:creationId xmlns:a16="http://schemas.microsoft.com/office/drawing/2014/main" id="{7081B9EA-D5FD-4DD1-A6D8-C3C5CEFAA573}"/>
              </a:ext>
            </a:extLst>
          </p:cNvPr>
          <p:cNvSpPr>
            <a:spLocks noGrp="1"/>
          </p:cNvSpPr>
          <p:nvPr>
            <p:ph type="pic" sz="quarter" idx="11"/>
          </p:nvPr>
        </p:nvSpPr>
        <p:spPr/>
      </p:sp>
    </p:spTree>
    <p:extLst>
      <p:ext uri="{BB962C8B-B14F-4D97-AF65-F5344CB8AC3E}">
        <p14:creationId xmlns:p14="http://schemas.microsoft.com/office/powerpoint/2010/main" val="3882376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353B59D-774D-495D-B345-403B124C73C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Helm</a:t>
            </a:r>
          </a:p>
          <a:p>
            <a:pPr marL="342900" indent="-342900">
              <a:buFont typeface="Arial" panose="020B0604020202020204" pitchFamily="34" charset="0"/>
              <a:buChar char="•"/>
            </a:pPr>
            <a:r>
              <a:rPr lang="en-US" dirty="0" err="1"/>
              <a:t>GitOps</a:t>
            </a:r>
            <a:endParaRPr lang="nl-NL" dirty="0"/>
          </a:p>
        </p:txBody>
      </p:sp>
      <p:sp>
        <p:nvSpPr>
          <p:cNvPr id="5" name="Title 4">
            <a:extLst>
              <a:ext uri="{FF2B5EF4-FFF2-40B4-BE49-F238E27FC236}">
                <a16:creationId xmlns:a16="http://schemas.microsoft.com/office/drawing/2014/main" id="{8CDED32E-3BF0-4EC9-8E3C-7025853BD78E}"/>
              </a:ext>
            </a:extLst>
          </p:cNvPr>
          <p:cNvSpPr>
            <a:spLocks noGrp="1"/>
          </p:cNvSpPr>
          <p:nvPr>
            <p:ph type="title"/>
          </p:nvPr>
        </p:nvSpPr>
        <p:spPr/>
        <p:txBody>
          <a:bodyPr/>
          <a:lstStyle/>
          <a:p>
            <a:r>
              <a:rPr lang="en-US" dirty="0"/>
              <a:t>Alternatives</a:t>
            </a:r>
            <a:endParaRPr lang="nl-NL" dirty="0"/>
          </a:p>
        </p:txBody>
      </p:sp>
    </p:spTree>
    <p:extLst>
      <p:ext uri="{BB962C8B-B14F-4D97-AF65-F5344CB8AC3E}">
        <p14:creationId xmlns:p14="http://schemas.microsoft.com/office/powerpoint/2010/main" val="4050817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6791E4-6CE7-49C3-9299-C90FEB4C952F}"/>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176558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033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468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5BB5A4-1DAF-4D4C-A550-73B9CA6DD3ED}"/>
              </a:ext>
            </a:extLst>
          </p:cNvPr>
          <p:cNvSpPr>
            <a:spLocks noGrp="1"/>
          </p:cNvSpPr>
          <p:nvPr>
            <p:ph type="body" sz="quarter" idx="11"/>
          </p:nvPr>
        </p:nvSpPr>
        <p:spPr/>
        <p:txBody>
          <a:bodyPr/>
          <a:lstStyle/>
          <a:p>
            <a:r>
              <a:rPr lang="en-US" dirty="0"/>
              <a:t>To be determined</a:t>
            </a:r>
          </a:p>
        </p:txBody>
      </p:sp>
    </p:spTree>
    <p:extLst>
      <p:ext uri="{BB962C8B-B14F-4D97-AF65-F5344CB8AC3E}">
        <p14:creationId xmlns:p14="http://schemas.microsoft.com/office/powerpoint/2010/main" val="2514371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FBA5072-B2D5-4885-8305-0D72996D056B}"/>
              </a:ext>
            </a:extLst>
          </p:cNvPr>
          <p:cNvSpPr>
            <a:spLocks noGrp="1"/>
          </p:cNvSpPr>
          <p:nvPr>
            <p:ph type="pic" sz="quarter" idx="11"/>
          </p:nvPr>
        </p:nvSpPr>
        <p:spPr/>
      </p:sp>
      <p:sp>
        <p:nvSpPr>
          <p:cNvPr id="6" name="Subtitle 5">
            <a:extLst>
              <a:ext uri="{FF2B5EF4-FFF2-40B4-BE49-F238E27FC236}">
                <a16:creationId xmlns:a16="http://schemas.microsoft.com/office/drawing/2014/main" id="{C74C51FB-C596-44B7-ABE2-886C72B657F8}"/>
              </a:ext>
            </a:extLst>
          </p:cNvPr>
          <p:cNvSpPr>
            <a:spLocks noGrp="1"/>
          </p:cNvSpPr>
          <p:nvPr>
            <p:ph type="subTitle" idx="1"/>
          </p:nvPr>
        </p:nvSpPr>
        <p:spPr/>
        <p:txBody>
          <a:bodyPr/>
          <a:lstStyle/>
          <a:p>
            <a:r>
              <a:rPr lang="en-US" dirty="0"/>
              <a:t>First steps towards deploying apps to AKS using DevOps Pipelines</a:t>
            </a:r>
            <a:endParaRPr lang="nl-NL" dirty="0"/>
          </a:p>
        </p:txBody>
      </p:sp>
      <p:sp>
        <p:nvSpPr>
          <p:cNvPr id="5" name="Title 4">
            <a:extLst>
              <a:ext uri="{FF2B5EF4-FFF2-40B4-BE49-F238E27FC236}">
                <a16:creationId xmlns:a16="http://schemas.microsoft.com/office/drawing/2014/main" id="{7467970E-04BB-4B0E-B16F-66F95AE2D81D}"/>
              </a:ext>
            </a:extLst>
          </p:cNvPr>
          <p:cNvSpPr>
            <a:spLocks noGrp="1"/>
          </p:cNvSpPr>
          <p:nvPr>
            <p:ph type="ctrTitle"/>
          </p:nvPr>
        </p:nvSpPr>
        <p:spPr>
          <a:xfrm>
            <a:off x="404813" y="2264961"/>
            <a:ext cx="11329987" cy="1477328"/>
          </a:xfrm>
        </p:spPr>
        <p:txBody>
          <a:bodyPr/>
          <a:lstStyle/>
          <a:p>
            <a:r>
              <a:rPr lang="en-US" dirty="0"/>
              <a:t>CI/CD and Azure Kubernetes Services</a:t>
            </a:r>
            <a:endParaRPr lang="nl-NL" dirty="0"/>
          </a:p>
        </p:txBody>
      </p:sp>
      <p:sp>
        <p:nvSpPr>
          <p:cNvPr id="7" name="Text Placeholder 6">
            <a:extLst>
              <a:ext uri="{FF2B5EF4-FFF2-40B4-BE49-F238E27FC236}">
                <a16:creationId xmlns:a16="http://schemas.microsoft.com/office/drawing/2014/main" id="{F0FA6EE0-432C-441F-BCF8-8645021D6957}"/>
              </a:ext>
            </a:extLst>
          </p:cNvPr>
          <p:cNvSpPr>
            <a:spLocks noGrp="1"/>
          </p:cNvSpPr>
          <p:nvPr>
            <p:ph type="body" sz="quarter" idx="10"/>
          </p:nvPr>
        </p:nvSpPr>
        <p:spPr/>
        <p:txBody>
          <a:bodyPr/>
          <a:lstStyle/>
          <a:p>
            <a:r>
              <a:rPr lang="en-US" dirty="0"/>
              <a:t>CI/CD and AKS</a:t>
            </a:r>
            <a:endParaRPr lang="nl-NL" dirty="0"/>
          </a:p>
        </p:txBody>
      </p:sp>
    </p:spTree>
    <p:extLst>
      <p:ext uri="{BB962C8B-B14F-4D97-AF65-F5344CB8AC3E}">
        <p14:creationId xmlns:p14="http://schemas.microsoft.com/office/powerpoint/2010/main" val="3182634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5CBD9A8-5736-4185-BA44-9D2C3E254B1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Joost Went</a:t>
            </a:r>
          </a:p>
          <a:p>
            <a:pPr marL="342900" indent="-342900">
              <a:buFont typeface="Arial" panose="020B0604020202020204" pitchFamily="34" charset="0"/>
              <a:buChar char="•"/>
            </a:pPr>
            <a:r>
              <a:rPr lang="en-US" dirty="0"/>
              <a:t>Capgemini newbie (joined in June)</a:t>
            </a:r>
          </a:p>
          <a:p>
            <a:pPr marL="342900" indent="-342900">
              <a:buFont typeface="Arial" panose="020B0604020202020204" pitchFamily="34" charset="0"/>
              <a:buChar char="•"/>
            </a:pPr>
            <a:r>
              <a:rPr lang="en-US" dirty="0" err="1"/>
              <a:t>.Net</a:t>
            </a:r>
            <a:r>
              <a:rPr lang="en-US" dirty="0"/>
              <a:t>  and Azure background</a:t>
            </a:r>
          </a:p>
          <a:p>
            <a:pPr marL="342900" indent="-342900">
              <a:buFont typeface="Arial" panose="020B0604020202020204" pitchFamily="34" charset="0"/>
              <a:buChar char="•"/>
            </a:pPr>
            <a:r>
              <a:rPr lang="en-US" dirty="0"/>
              <a:t>Azure Solutions Architect and DevOps Engineer Expert</a:t>
            </a:r>
          </a:p>
          <a:p>
            <a:endParaRPr lang="nl-NL" dirty="0"/>
          </a:p>
        </p:txBody>
      </p:sp>
      <p:sp>
        <p:nvSpPr>
          <p:cNvPr id="6" name="Title 5">
            <a:extLst>
              <a:ext uri="{FF2B5EF4-FFF2-40B4-BE49-F238E27FC236}">
                <a16:creationId xmlns:a16="http://schemas.microsoft.com/office/drawing/2014/main" id="{02AF3804-12FE-478D-9A21-72BBC7A9C747}"/>
              </a:ext>
            </a:extLst>
          </p:cNvPr>
          <p:cNvSpPr>
            <a:spLocks noGrp="1"/>
          </p:cNvSpPr>
          <p:nvPr>
            <p:ph type="title"/>
          </p:nvPr>
        </p:nvSpPr>
        <p:spPr/>
        <p:txBody>
          <a:bodyPr/>
          <a:lstStyle/>
          <a:p>
            <a:r>
              <a:rPr lang="en-US" dirty="0"/>
              <a:t>Introduction</a:t>
            </a:r>
            <a:endParaRPr lang="nl-NL" dirty="0"/>
          </a:p>
        </p:txBody>
      </p:sp>
    </p:spTree>
    <p:extLst>
      <p:ext uri="{BB962C8B-B14F-4D97-AF65-F5344CB8AC3E}">
        <p14:creationId xmlns:p14="http://schemas.microsoft.com/office/powerpoint/2010/main" val="49728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D83E6C-CAA3-466F-A2CD-B71EDD751034}"/>
              </a:ext>
            </a:extLst>
          </p:cNvPr>
          <p:cNvSpPr>
            <a:spLocks noGrp="1"/>
          </p:cNvSpPr>
          <p:nvPr>
            <p:ph type="body" sz="quarter" idx="10"/>
          </p:nvPr>
        </p:nvSpPr>
        <p:spPr/>
        <p:txBody>
          <a:bodyPr/>
          <a:lstStyle/>
          <a:p>
            <a:pPr marL="457200" indent="-457200">
              <a:buFont typeface="Arial" panose="020B0604020202020204" pitchFamily="34" charset="0"/>
              <a:buChar char="•"/>
            </a:pPr>
            <a:r>
              <a:rPr lang="en-US" dirty="0"/>
              <a:t>Kubernetes like you are used to</a:t>
            </a:r>
          </a:p>
          <a:p>
            <a:pPr marL="635000" lvl="1" indent="-457200">
              <a:buFont typeface="Arial" panose="020B0604020202020204" pitchFamily="34" charset="0"/>
              <a:buChar char="•"/>
            </a:pPr>
            <a:r>
              <a:rPr lang="en-US" dirty="0" err="1"/>
              <a:t>kubectl</a:t>
            </a:r>
            <a:r>
              <a:rPr lang="en-US" dirty="0"/>
              <a:t>, helm, etc.</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But it runs transparent on Azure Resources</a:t>
            </a:r>
          </a:p>
          <a:p>
            <a:pPr marL="635000" lvl="1" indent="-457200">
              <a:buFont typeface="Arial" panose="020B0604020202020204" pitchFamily="34" charset="0"/>
              <a:buChar char="•"/>
            </a:pPr>
            <a:r>
              <a:rPr lang="en-US" dirty="0" err="1"/>
              <a:t>VNet</a:t>
            </a:r>
            <a:r>
              <a:rPr lang="en-US" dirty="0"/>
              <a:t> integration (VPN, NSG, etc.)</a:t>
            </a:r>
          </a:p>
          <a:p>
            <a:pPr marL="635000" lvl="1" indent="-457200">
              <a:buFont typeface="Arial" panose="020B0604020202020204" pitchFamily="34" charset="0"/>
              <a:buChar char="•"/>
            </a:pPr>
            <a:r>
              <a:rPr lang="en-US" dirty="0"/>
              <a:t>Application Gateway (SSL offloading, routing, WAF)</a:t>
            </a:r>
          </a:p>
          <a:p>
            <a:pPr marL="635000" lvl="1" indent="-457200">
              <a:buFont typeface="Arial" panose="020B0604020202020204" pitchFamily="34" charset="0"/>
              <a:buChar char="•"/>
            </a:pPr>
            <a:r>
              <a:rPr lang="en-US" dirty="0"/>
              <a:t>Virtual Machine </a:t>
            </a:r>
            <a:r>
              <a:rPr lang="en-US" dirty="0" err="1"/>
              <a:t>Scalesets</a:t>
            </a:r>
            <a:r>
              <a:rPr lang="en-US" dirty="0"/>
              <a:t> (Proximity Groups, Accelerated Networking)</a:t>
            </a:r>
          </a:p>
          <a:p>
            <a:pPr marL="635000" lvl="1" indent="-457200">
              <a:buFont typeface="Arial" panose="020B0604020202020204" pitchFamily="34" charset="0"/>
              <a:buChar char="•"/>
            </a:pPr>
            <a:r>
              <a:rPr lang="en-US" dirty="0"/>
              <a:t>Azure RBAC, managed identity</a:t>
            </a:r>
          </a:p>
          <a:p>
            <a:pPr marL="635000" lvl="1" indent="-457200">
              <a:buFont typeface="Arial" panose="020B0604020202020204" pitchFamily="34" charset="0"/>
              <a:buChar char="•"/>
            </a:pPr>
            <a:r>
              <a:rPr lang="en-US" dirty="0"/>
              <a:t>Azure Container Registry</a:t>
            </a:r>
          </a:p>
          <a:p>
            <a:pPr marL="635000" lvl="1" indent="-457200">
              <a:buFont typeface="Arial" panose="020B0604020202020204" pitchFamily="34" charset="0"/>
              <a:buChar char="•"/>
            </a:pPr>
            <a:endParaRPr lang="en-US" dirty="0"/>
          </a:p>
          <a:p>
            <a:pPr marL="457200" indent="-457200">
              <a:buFont typeface="Arial" panose="020B0604020202020204" pitchFamily="34" charset="0"/>
              <a:buChar char="•"/>
            </a:pPr>
            <a:endParaRPr lang="nl-NL" dirty="0"/>
          </a:p>
        </p:txBody>
      </p:sp>
      <p:sp>
        <p:nvSpPr>
          <p:cNvPr id="3" name="Title 2">
            <a:extLst>
              <a:ext uri="{FF2B5EF4-FFF2-40B4-BE49-F238E27FC236}">
                <a16:creationId xmlns:a16="http://schemas.microsoft.com/office/drawing/2014/main" id="{E5273D89-926D-4F11-AA7F-2AAA244F223F}"/>
              </a:ext>
            </a:extLst>
          </p:cNvPr>
          <p:cNvSpPr>
            <a:spLocks noGrp="1"/>
          </p:cNvSpPr>
          <p:nvPr>
            <p:ph type="title"/>
          </p:nvPr>
        </p:nvSpPr>
        <p:spPr/>
        <p:txBody>
          <a:bodyPr/>
          <a:lstStyle/>
          <a:p>
            <a:r>
              <a:rPr lang="en-US" dirty="0"/>
              <a:t>Azure Kubernetes Services</a:t>
            </a:r>
            <a:endParaRPr lang="nl-NL" dirty="0"/>
          </a:p>
        </p:txBody>
      </p:sp>
    </p:spTree>
    <p:extLst>
      <p:ext uri="{BB962C8B-B14F-4D97-AF65-F5344CB8AC3E}">
        <p14:creationId xmlns:p14="http://schemas.microsoft.com/office/powerpoint/2010/main" val="739543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FCBC78-5B37-41A9-BB2F-0A94CD1D6B29}"/>
              </a:ext>
            </a:extLst>
          </p:cNvPr>
          <p:cNvSpPr>
            <a:spLocks noGrp="1"/>
          </p:cNvSpPr>
          <p:nvPr>
            <p:ph type="body" sz="quarter" idx="10"/>
          </p:nvPr>
        </p:nvSpPr>
        <p:spPr/>
        <p:txBody>
          <a:bodyPr/>
          <a:lstStyle/>
          <a:p>
            <a:pPr marL="342900" indent="-342900">
              <a:buFontTx/>
              <a:buChar char="-"/>
            </a:pPr>
            <a:r>
              <a:rPr lang="en-US" dirty="0"/>
              <a:t>Create a </a:t>
            </a:r>
            <a:r>
              <a:rPr lang="en-US" dirty="0" err="1"/>
              <a:t>dockerfile</a:t>
            </a:r>
            <a:endParaRPr lang="en-US" dirty="0"/>
          </a:p>
          <a:p>
            <a:pPr marL="342900" indent="-342900">
              <a:buFontTx/>
              <a:buChar char="-"/>
            </a:pPr>
            <a:r>
              <a:rPr lang="en-US" dirty="0"/>
              <a:t>Create a docker image and tag it</a:t>
            </a:r>
          </a:p>
          <a:p>
            <a:pPr marL="342900" indent="-342900">
              <a:buFontTx/>
              <a:buChar char="-"/>
            </a:pPr>
            <a:r>
              <a:rPr lang="en-US" dirty="0"/>
              <a:t>Push the docker image to a container registry</a:t>
            </a:r>
          </a:p>
          <a:p>
            <a:pPr marL="342900" indent="-342900">
              <a:buFontTx/>
              <a:buChar char="-"/>
            </a:pPr>
            <a:r>
              <a:rPr lang="en-US" dirty="0"/>
              <a:t>Grant AKS access to the container registry </a:t>
            </a:r>
          </a:p>
          <a:p>
            <a:pPr marL="342900" indent="-342900">
              <a:buFontTx/>
              <a:buChar char="-"/>
            </a:pPr>
            <a:r>
              <a:rPr lang="en-US" dirty="0"/>
              <a:t>Update your Kubernetes deployment manifest</a:t>
            </a:r>
            <a:endParaRPr lang="nl-NL" dirty="0"/>
          </a:p>
        </p:txBody>
      </p:sp>
      <p:sp>
        <p:nvSpPr>
          <p:cNvPr id="3" name="Title 2">
            <a:extLst>
              <a:ext uri="{FF2B5EF4-FFF2-40B4-BE49-F238E27FC236}">
                <a16:creationId xmlns:a16="http://schemas.microsoft.com/office/drawing/2014/main" id="{A7ABAB28-48C4-498D-B1A3-F8F06783EA85}"/>
              </a:ext>
            </a:extLst>
          </p:cNvPr>
          <p:cNvSpPr>
            <a:spLocks noGrp="1"/>
          </p:cNvSpPr>
          <p:nvPr>
            <p:ph type="title"/>
          </p:nvPr>
        </p:nvSpPr>
        <p:spPr/>
        <p:txBody>
          <a:bodyPr/>
          <a:lstStyle/>
          <a:p>
            <a:r>
              <a:rPr lang="en-US" dirty="0"/>
              <a:t>From Code to Deployment</a:t>
            </a:r>
            <a:endParaRPr lang="nl-NL" dirty="0"/>
          </a:p>
        </p:txBody>
      </p:sp>
    </p:spTree>
    <p:extLst>
      <p:ext uri="{BB962C8B-B14F-4D97-AF65-F5344CB8AC3E}">
        <p14:creationId xmlns:p14="http://schemas.microsoft.com/office/powerpoint/2010/main" val="2050583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442458-94CD-4F15-9B45-FC72B4B8C3AB}"/>
              </a:ext>
            </a:extLst>
          </p:cNvPr>
          <p:cNvSpPr>
            <a:spLocks noGrp="1"/>
          </p:cNvSpPr>
          <p:nvPr>
            <p:ph type="title"/>
          </p:nvPr>
        </p:nvSpPr>
        <p:spPr/>
        <p:txBody>
          <a:bodyPr/>
          <a:lstStyle/>
          <a:p>
            <a:r>
              <a:rPr lang="en-US" dirty="0"/>
              <a:t>Service Connections</a:t>
            </a:r>
            <a:endParaRPr lang="nl-NL" dirty="0"/>
          </a:p>
        </p:txBody>
      </p:sp>
      <p:sp>
        <p:nvSpPr>
          <p:cNvPr id="4" name="Rectangle 3">
            <a:extLst>
              <a:ext uri="{FF2B5EF4-FFF2-40B4-BE49-F238E27FC236}">
                <a16:creationId xmlns:a16="http://schemas.microsoft.com/office/drawing/2014/main" id="{63E37AB2-C8C6-4A39-ABF6-F4344AA08E4B}"/>
              </a:ext>
            </a:extLst>
          </p:cNvPr>
          <p:cNvSpPr/>
          <p:nvPr/>
        </p:nvSpPr>
        <p:spPr>
          <a:xfrm>
            <a:off x="1693333" y="3031067"/>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Build Agent</a:t>
            </a:r>
            <a:endParaRPr lang="nl-NL" sz="1600" dirty="0" err="1"/>
          </a:p>
        </p:txBody>
      </p:sp>
      <p:sp>
        <p:nvSpPr>
          <p:cNvPr id="5" name="Rectangle 4">
            <a:extLst>
              <a:ext uri="{FF2B5EF4-FFF2-40B4-BE49-F238E27FC236}">
                <a16:creationId xmlns:a16="http://schemas.microsoft.com/office/drawing/2014/main" id="{C685F5AE-0696-4D4B-A8E3-6FD946013AE2}"/>
              </a:ext>
            </a:extLst>
          </p:cNvPr>
          <p:cNvSpPr/>
          <p:nvPr/>
        </p:nvSpPr>
        <p:spPr>
          <a:xfrm>
            <a:off x="4981231" y="3031064"/>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zure Container Registry</a:t>
            </a:r>
            <a:endParaRPr lang="nl-NL" sz="1600" dirty="0" err="1"/>
          </a:p>
        </p:txBody>
      </p:sp>
      <p:sp>
        <p:nvSpPr>
          <p:cNvPr id="6" name="Rectangle 5">
            <a:extLst>
              <a:ext uri="{FF2B5EF4-FFF2-40B4-BE49-F238E27FC236}">
                <a16:creationId xmlns:a16="http://schemas.microsoft.com/office/drawing/2014/main" id="{E793372E-290F-41B2-88D8-EA3916235397}"/>
              </a:ext>
            </a:extLst>
          </p:cNvPr>
          <p:cNvSpPr/>
          <p:nvPr/>
        </p:nvSpPr>
        <p:spPr>
          <a:xfrm>
            <a:off x="4981229" y="1418168"/>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Git</a:t>
            </a:r>
            <a:endParaRPr lang="nl-NL" sz="1600" dirty="0" err="1"/>
          </a:p>
        </p:txBody>
      </p:sp>
      <p:sp>
        <p:nvSpPr>
          <p:cNvPr id="7" name="Rectangle 6">
            <a:extLst>
              <a:ext uri="{FF2B5EF4-FFF2-40B4-BE49-F238E27FC236}">
                <a16:creationId xmlns:a16="http://schemas.microsoft.com/office/drawing/2014/main" id="{E8B53F42-8466-4A1C-A2B5-54BFDEBEC96B}"/>
              </a:ext>
            </a:extLst>
          </p:cNvPr>
          <p:cNvSpPr/>
          <p:nvPr/>
        </p:nvSpPr>
        <p:spPr>
          <a:xfrm>
            <a:off x="4981229" y="4643960"/>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zure Kubernetes Services</a:t>
            </a:r>
            <a:endParaRPr lang="nl-NL" sz="1600" dirty="0" err="1"/>
          </a:p>
        </p:txBody>
      </p:sp>
      <p:cxnSp>
        <p:nvCxnSpPr>
          <p:cNvPr id="11" name="Connector: Elbow 10">
            <a:extLst>
              <a:ext uri="{FF2B5EF4-FFF2-40B4-BE49-F238E27FC236}">
                <a16:creationId xmlns:a16="http://schemas.microsoft.com/office/drawing/2014/main" id="{C5826A3C-12A0-4F84-B76C-D527BBEEF268}"/>
              </a:ext>
            </a:extLst>
          </p:cNvPr>
          <p:cNvCxnSpPr>
            <a:stCxn id="4" idx="0"/>
            <a:endCxn id="6" idx="1"/>
          </p:cNvCxnSpPr>
          <p:nvPr/>
        </p:nvCxnSpPr>
        <p:spPr>
          <a:xfrm rot="5400000" flipH="1" flipV="1">
            <a:off x="3212398" y="1262237"/>
            <a:ext cx="1147232" cy="239042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83FAEBE-2E0B-49FA-BB60-B2A8EB70612F}"/>
              </a:ext>
            </a:extLst>
          </p:cNvPr>
          <p:cNvCxnSpPr>
            <a:stCxn id="4" idx="3"/>
            <a:endCxn id="5" idx="1"/>
          </p:cNvCxnSpPr>
          <p:nvPr/>
        </p:nvCxnSpPr>
        <p:spPr>
          <a:xfrm flipV="1">
            <a:off x="3488266" y="3496731"/>
            <a:ext cx="1492965"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C9A6A3E9-98E3-4DA9-8B96-D666D787C976}"/>
              </a:ext>
            </a:extLst>
          </p:cNvPr>
          <p:cNvCxnSpPr>
            <a:stCxn id="4" idx="2"/>
            <a:endCxn id="7" idx="1"/>
          </p:cNvCxnSpPr>
          <p:nvPr/>
        </p:nvCxnSpPr>
        <p:spPr>
          <a:xfrm rot="16200000" flipH="1">
            <a:off x="3212401" y="3340798"/>
            <a:ext cx="1147227" cy="239042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1539D17-FC85-42A7-9BC5-981993B1B35C}"/>
              </a:ext>
            </a:extLst>
          </p:cNvPr>
          <p:cNvCxnSpPr>
            <a:stCxn id="7" idx="0"/>
            <a:endCxn id="5" idx="2"/>
          </p:cNvCxnSpPr>
          <p:nvPr/>
        </p:nvCxnSpPr>
        <p:spPr>
          <a:xfrm rot="5400000" flipH="1" flipV="1">
            <a:off x="5537916" y="4303178"/>
            <a:ext cx="681563" cy="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BD96544-52A5-4F90-9B20-BD1F8AF8501B}"/>
              </a:ext>
            </a:extLst>
          </p:cNvPr>
          <p:cNvSpPr txBox="1"/>
          <p:nvPr/>
        </p:nvSpPr>
        <p:spPr>
          <a:xfrm>
            <a:off x="2741783" y="1702318"/>
            <a:ext cx="1492965" cy="369332"/>
          </a:xfrm>
          <a:prstGeom prst="rect">
            <a:avLst/>
          </a:prstGeom>
          <a:noFill/>
        </p:spPr>
        <p:txBody>
          <a:bodyPr wrap="square" rtlCol="0">
            <a:spAutoFit/>
          </a:bodyPr>
          <a:lstStyle/>
          <a:p>
            <a:r>
              <a:rPr lang="en-US" dirty="0">
                <a:solidFill>
                  <a:schemeClr val="bg1"/>
                </a:solidFill>
              </a:rPr>
              <a:t>Checkout</a:t>
            </a:r>
            <a:endParaRPr lang="nl-NL" dirty="0">
              <a:solidFill>
                <a:schemeClr val="bg1"/>
              </a:solidFill>
            </a:endParaRPr>
          </a:p>
        </p:txBody>
      </p:sp>
      <p:sp>
        <p:nvSpPr>
          <p:cNvPr id="19" name="TextBox 18">
            <a:extLst>
              <a:ext uri="{FF2B5EF4-FFF2-40B4-BE49-F238E27FC236}">
                <a16:creationId xmlns:a16="http://schemas.microsoft.com/office/drawing/2014/main" id="{7631C3FF-51B5-4BD0-9D61-760D47A2DA20}"/>
              </a:ext>
            </a:extLst>
          </p:cNvPr>
          <p:cNvSpPr txBox="1"/>
          <p:nvPr/>
        </p:nvSpPr>
        <p:spPr>
          <a:xfrm>
            <a:off x="3591279" y="3312061"/>
            <a:ext cx="1492965" cy="369332"/>
          </a:xfrm>
          <a:prstGeom prst="rect">
            <a:avLst/>
          </a:prstGeom>
          <a:noFill/>
        </p:spPr>
        <p:txBody>
          <a:bodyPr wrap="square" rtlCol="0">
            <a:spAutoFit/>
          </a:bodyPr>
          <a:lstStyle/>
          <a:p>
            <a:r>
              <a:rPr lang="en-US" dirty="0">
                <a:solidFill>
                  <a:schemeClr val="bg1"/>
                </a:solidFill>
              </a:rPr>
              <a:t>Push</a:t>
            </a:r>
            <a:endParaRPr lang="nl-NL" dirty="0">
              <a:solidFill>
                <a:schemeClr val="bg1"/>
              </a:solidFill>
            </a:endParaRPr>
          </a:p>
        </p:txBody>
      </p:sp>
      <p:sp>
        <p:nvSpPr>
          <p:cNvPr id="20" name="TextBox 19">
            <a:extLst>
              <a:ext uri="{FF2B5EF4-FFF2-40B4-BE49-F238E27FC236}">
                <a16:creationId xmlns:a16="http://schemas.microsoft.com/office/drawing/2014/main" id="{0DFCA13E-1F09-4EBB-B347-AD539CDE42FE}"/>
              </a:ext>
            </a:extLst>
          </p:cNvPr>
          <p:cNvSpPr txBox="1"/>
          <p:nvPr/>
        </p:nvSpPr>
        <p:spPr>
          <a:xfrm>
            <a:off x="2741783" y="4924960"/>
            <a:ext cx="1492965" cy="369332"/>
          </a:xfrm>
          <a:prstGeom prst="rect">
            <a:avLst/>
          </a:prstGeom>
          <a:noFill/>
        </p:spPr>
        <p:txBody>
          <a:bodyPr wrap="square" rtlCol="0">
            <a:spAutoFit/>
          </a:bodyPr>
          <a:lstStyle/>
          <a:p>
            <a:r>
              <a:rPr lang="en-US" dirty="0">
                <a:solidFill>
                  <a:schemeClr val="bg1"/>
                </a:solidFill>
              </a:rPr>
              <a:t>Apply</a:t>
            </a:r>
            <a:endParaRPr lang="nl-NL" dirty="0">
              <a:solidFill>
                <a:schemeClr val="bg1"/>
              </a:solidFill>
            </a:endParaRPr>
          </a:p>
        </p:txBody>
      </p:sp>
      <p:sp>
        <p:nvSpPr>
          <p:cNvPr id="21" name="TextBox 20">
            <a:extLst>
              <a:ext uri="{FF2B5EF4-FFF2-40B4-BE49-F238E27FC236}">
                <a16:creationId xmlns:a16="http://schemas.microsoft.com/office/drawing/2014/main" id="{C92892C6-8A4A-42CF-AA47-2E58F1FADFCD}"/>
              </a:ext>
            </a:extLst>
          </p:cNvPr>
          <p:cNvSpPr txBox="1"/>
          <p:nvPr/>
        </p:nvSpPr>
        <p:spPr>
          <a:xfrm>
            <a:off x="5566820" y="4118512"/>
            <a:ext cx="1492965" cy="369332"/>
          </a:xfrm>
          <a:prstGeom prst="rect">
            <a:avLst/>
          </a:prstGeom>
          <a:noFill/>
        </p:spPr>
        <p:txBody>
          <a:bodyPr wrap="square" rtlCol="0">
            <a:spAutoFit/>
          </a:bodyPr>
          <a:lstStyle/>
          <a:p>
            <a:r>
              <a:rPr lang="en-US" dirty="0">
                <a:solidFill>
                  <a:schemeClr val="bg1"/>
                </a:solidFill>
              </a:rPr>
              <a:t>Pull</a:t>
            </a:r>
            <a:endParaRPr lang="nl-NL" dirty="0">
              <a:solidFill>
                <a:schemeClr val="bg1"/>
              </a:solidFill>
            </a:endParaRPr>
          </a:p>
        </p:txBody>
      </p:sp>
    </p:spTree>
    <p:extLst>
      <p:ext uri="{BB962C8B-B14F-4D97-AF65-F5344CB8AC3E}">
        <p14:creationId xmlns:p14="http://schemas.microsoft.com/office/powerpoint/2010/main" val="923525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E6636C-8E98-4D93-BD37-2A1299ED96DD}"/>
              </a:ext>
            </a:extLst>
          </p:cNvPr>
          <p:cNvSpPr>
            <a:spLocks noGrp="1"/>
          </p:cNvSpPr>
          <p:nvPr>
            <p:ph type="body" sz="quarter" idx="10"/>
          </p:nvPr>
        </p:nvSpPr>
        <p:spPr/>
        <p:txBody>
          <a:bodyPr/>
          <a:lstStyle/>
          <a:p>
            <a:pPr marL="342900" indent="-342900">
              <a:buFontTx/>
              <a:buChar char="-"/>
            </a:pPr>
            <a:r>
              <a:rPr lang="en-US" dirty="0"/>
              <a:t>Access to our code</a:t>
            </a:r>
          </a:p>
          <a:p>
            <a:pPr marL="342900" indent="-342900">
              <a:buFontTx/>
              <a:buChar char="-"/>
            </a:pPr>
            <a:r>
              <a:rPr lang="en-US" dirty="0"/>
              <a:t>Access to the container registry</a:t>
            </a:r>
          </a:p>
          <a:p>
            <a:pPr marL="342900" indent="-342900">
              <a:buFontTx/>
              <a:buChar char="-"/>
            </a:pPr>
            <a:r>
              <a:rPr lang="en-US" dirty="0"/>
              <a:t>Access to Kubernetes</a:t>
            </a:r>
            <a:endParaRPr lang="nl-NL" dirty="0"/>
          </a:p>
        </p:txBody>
      </p:sp>
      <p:sp>
        <p:nvSpPr>
          <p:cNvPr id="3" name="Title 2">
            <a:extLst>
              <a:ext uri="{FF2B5EF4-FFF2-40B4-BE49-F238E27FC236}">
                <a16:creationId xmlns:a16="http://schemas.microsoft.com/office/drawing/2014/main" id="{F87F16E8-D99F-4D9C-9786-DDC7C7D4A47A}"/>
              </a:ext>
            </a:extLst>
          </p:cNvPr>
          <p:cNvSpPr>
            <a:spLocks noGrp="1"/>
          </p:cNvSpPr>
          <p:nvPr>
            <p:ph type="title"/>
          </p:nvPr>
        </p:nvSpPr>
        <p:spPr/>
        <p:txBody>
          <a:bodyPr/>
          <a:lstStyle/>
          <a:p>
            <a:r>
              <a:rPr lang="en-US" dirty="0"/>
              <a:t>What do we need in our pipeline</a:t>
            </a:r>
            <a:endParaRPr lang="nl-NL" dirty="0"/>
          </a:p>
        </p:txBody>
      </p:sp>
    </p:spTree>
    <p:extLst>
      <p:ext uri="{BB962C8B-B14F-4D97-AF65-F5344CB8AC3E}">
        <p14:creationId xmlns:p14="http://schemas.microsoft.com/office/powerpoint/2010/main" val="2538430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23E2E7BBB724EBD66262F8096C02C" ma:contentTypeVersion="12" ma:contentTypeDescription="Create a new document." ma:contentTypeScope="" ma:versionID="029439c3627e46743cc90f720991ec29">
  <xsd:schema xmlns:xsd="http://www.w3.org/2001/XMLSchema" xmlns:xs="http://www.w3.org/2001/XMLSchema" xmlns:p="http://schemas.microsoft.com/office/2006/metadata/properties" xmlns:ns2="3d04ce2b-259a-43e1-b1f9-9b7f7594f86e" xmlns:ns3="5c6beff6-7d87-4e1b-88cc-945dc3351362" targetNamespace="http://schemas.microsoft.com/office/2006/metadata/properties" ma:root="true" ma:fieldsID="7ba44ce8f51f696ada8902b6dfd65b32" ns2:_="" ns3:_="">
    <xsd:import namespace="3d04ce2b-259a-43e1-b1f9-9b7f7594f86e"/>
    <xsd:import namespace="5c6beff6-7d87-4e1b-88cc-945dc33513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04ce2b-259a-43e1-b1f9-9b7f7594f8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6beff6-7d87-4e1b-88cc-945dc335136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BD4097-8236-4DCA-AED4-C6EE643A5C0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1C5A25A-3590-4D5F-B7A8-15013516B4CF}">
  <ds:schemaRefs>
    <ds:schemaRef ds:uri="http://schemas.microsoft.com/sharepoint/v3/contenttype/forms"/>
  </ds:schemaRefs>
</ds:datastoreItem>
</file>

<file path=customXml/itemProps3.xml><?xml version="1.0" encoding="utf-8"?>
<ds:datastoreItem xmlns:ds="http://schemas.openxmlformats.org/officeDocument/2006/customXml" ds:itemID="{0558C008-966D-49EA-BDB4-4A4EF4C088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04ce2b-259a-43e1-b1f9-9b7f7594f86e"/>
    <ds:schemaRef ds:uri="5c6beff6-7d87-4e1b-88cc-945dc33513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1</TotalTime>
  <Words>203</Words>
  <Application>Microsoft Office PowerPoint</Application>
  <PresentationFormat>Widescreen</PresentationFormat>
  <Paragraphs>52</Paragraphs>
  <Slides>1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ourier New</vt:lpstr>
      <vt:lpstr>Ubuntu</vt:lpstr>
      <vt:lpstr>Ubuntu Light</vt:lpstr>
      <vt:lpstr>Ubuntu Medium</vt:lpstr>
      <vt:lpstr>Wingdings</vt:lpstr>
      <vt:lpstr>1_Capgemini Master 2021</vt:lpstr>
      <vt:lpstr>think-cell Slide</vt:lpstr>
      <vt:lpstr>CI/CD &amp; Azure Kubernetes services</vt:lpstr>
      <vt:lpstr>PowerPoint Presentation</vt:lpstr>
      <vt:lpstr>PowerPoint Presentation</vt:lpstr>
      <vt:lpstr>CI/CD and Azure Kubernetes Services</vt:lpstr>
      <vt:lpstr>Introduction</vt:lpstr>
      <vt:lpstr>Azure Kubernetes Services</vt:lpstr>
      <vt:lpstr>From Code to Deployment</vt:lpstr>
      <vt:lpstr>Service Connections</vt:lpstr>
      <vt:lpstr>What do we need in our pipeline</vt:lpstr>
      <vt:lpstr>The Pipeline</vt:lpstr>
      <vt:lpstr>PowerPoint Presentation</vt:lpstr>
      <vt:lpstr>Alternativ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 Talk:          [Title]</dc:title>
  <dc:creator>Schultz, Marlou</dc:creator>
  <cp:lastModifiedBy>Went, Joost</cp:lastModifiedBy>
  <cp:revision>23</cp:revision>
  <dcterms:created xsi:type="dcterms:W3CDTF">2021-06-16T09:20:39Z</dcterms:created>
  <dcterms:modified xsi:type="dcterms:W3CDTF">2021-12-02T19:4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23E2E7BBB724EBD66262F8096C02C</vt:lpwstr>
  </property>
</Properties>
</file>